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22" r:id="rId1"/>
    <p:sldMasterId id="2147483648" r:id="rId2"/>
  </p:sldMasterIdLst>
  <p:notesMasterIdLst>
    <p:notesMasterId r:id="rId31"/>
  </p:notesMasterIdLst>
  <p:sldIdLst>
    <p:sldId id="318" r:id="rId3"/>
    <p:sldId id="596" r:id="rId4"/>
    <p:sldId id="617" r:id="rId5"/>
    <p:sldId id="577" r:id="rId6"/>
    <p:sldId id="597" r:id="rId7"/>
    <p:sldId id="598" r:id="rId8"/>
    <p:sldId id="599" r:id="rId9"/>
    <p:sldId id="600" r:id="rId10"/>
    <p:sldId id="601" r:id="rId11"/>
    <p:sldId id="602" r:id="rId12"/>
    <p:sldId id="603" r:id="rId13"/>
    <p:sldId id="604" r:id="rId14"/>
    <p:sldId id="605" r:id="rId15"/>
    <p:sldId id="607" r:id="rId16"/>
    <p:sldId id="608" r:id="rId17"/>
    <p:sldId id="609" r:id="rId18"/>
    <p:sldId id="585" r:id="rId19"/>
    <p:sldId id="610" r:id="rId20"/>
    <p:sldId id="611" r:id="rId21"/>
    <p:sldId id="612" r:id="rId22"/>
    <p:sldId id="613" r:id="rId23"/>
    <p:sldId id="614" r:id="rId24"/>
    <p:sldId id="615" r:id="rId25"/>
    <p:sldId id="594" r:id="rId26"/>
    <p:sldId id="616" r:id="rId27"/>
    <p:sldId id="618" r:id="rId28"/>
    <p:sldId id="619" r:id="rId29"/>
    <p:sldId id="362" r:id="rId30"/>
  </p:sldIdLst>
  <p:sldSz cx="17337088" cy="9752013"/>
  <p:notesSz cx="6858000" cy="9144000"/>
  <p:defaultTextStyle>
    <a:defPPr>
      <a:defRPr lang="ru-RU"/>
    </a:defPPr>
    <a:lvl1pPr marL="0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1pPr>
    <a:lvl2pPr marL="650138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2pPr>
    <a:lvl3pPr marL="1300277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3pPr>
    <a:lvl4pPr marL="1950415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4pPr>
    <a:lvl5pPr marL="2600554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5pPr>
    <a:lvl6pPr marL="3250692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6pPr>
    <a:lvl7pPr marL="3900830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7pPr>
    <a:lvl8pPr marL="4550969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8pPr>
    <a:lvl9pPr marL="5201107" algn="l" defTabSz="1300277" rtl="0" eaLnBrk="1" latinLnBrk="0" hangingPunct="1">
      <a:defRPr sz="25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39DCF09-0978-7249-8357-6A62AD9B5324}">
          <p14:sldIdLst>
            <p14:sldId id="318"/>
            <p14:sldId id="596"/>
            <p14:sldId id="617"/>
            <p14:sldId id="577"/>
            <p14:sldId id="597"/>
            <p14:sldId id="598"/>
            <p14:sldId id="599"/>
            <p14:sldId id="600"/>
            <p14:sldId id="601"/>
            <p14:sldId id="602"/>
            <p14:sldId id="603"/>
            <p14:sldId id="604"/>
            <p14:sldId id="605"/>
            <p14:sldId id="607"/>
            <p14:sldId id="608"/>
            <p14:sldId id="609"/>
            <p14:sldId id="585"/>
            <p14:sldId id="610"/>
            <p14:sldId id="611"/>
            <p14:sldId id="612"/>
            <p14:sldId id="613"/>
            <p14:sldId id="614"/>
            <p14:sldId id="615"/>
            <p14:sldId id="594"/>
            <p14:sldId id="616"/>
            <p14:sldId id="618"/>
            <p14:sldId id="619"/>
            <p14:sldId id="362"/>
          </p14:sldIdLst>
        </p14:section>
      </p14:sectionLst>
    </p:ext>
    <p:ext uri="{EFAFB233-063F-42B5-8137-9DF3F51BA10A}">
      <p15:sldGuideLst xmlns:p15="http://schemas.microsoft.com/office/powerpoint/2012/main">
        <p15:guide id="2" pos="5438" userDrawn="1">
          <p15:clr>
            <a:srgbClr val="A4A3A4"/>
          </p15:clr>
        </p15:guide>
        <p15:guide id="3" orient="horz" pos="7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798C"/>
    <a:srgbClr val="FFCC00"/>
    <a:srgbClr val="FFFFFF"/>
    <a:srgbClr val="35485C"/>
    <a:srgbClr val="31C2A7"/>
    <a:srgbClr val="EC1150"/>
    <a:srgbClr val="001A34"/>
    <a:srgbClr val="215E9C"/>
    <a:srgbClr val="6A89C3"/>
    <a:srgbClr val="AAC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30" autoAdjust="0"/>
    <p:restoredTop sz="94830"/>
  </p:normalViewPr>
  <p:slideViewPr>
    <p:cSldViewPr snapToGrid="0" snapToObjects="1" showGuides="1">
      <p:cViewPr varScale="1">
        <p:scale>
          <a:sx n="48" d="100"/>
          <a:sy n="48" d="100"/>
        </p:scale>
        <p:origin x="216" y="66"/>
      </p:cViewPr>
      <p:guideLst>
        <p:guide pos="5438"/>
        <p:guide orient="horz" pos="7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E4AAA6-B921-3542-8173-0DD764489E8A}" type="datetimeFigureOut">
              <a:rPr lang="ru-RU" smtClean="0"/>
              <a:t>13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DAF58-8BBF-5942-9EE2-B93E2FFABF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099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1pPr>
    <a:lvl2pPr marL="650138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2pPr>
    <a:lvl3pPr marL="1300277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3pPr>
    <a:lvl4pPr marL="1950415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4pPr>
    <a:lvl5pPr marL="2600554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5pPr>
    <a:lvl6pPr marL="3250692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6pPr>
    <a:lvl7pPr marL="3900830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7pPr>
    <a:lvl8pPr marL="4550969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8pPr>
    <a:lvl9pPr marL="5201107" algn="l" defTabSz="1300277" rtl="0" eaLnBrk="1" latinLnBrk="0" hangingPunct="1">
      <a:defRPr sz="17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DAF58-8BBF-5942-9EE2-B93E2FFABF9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4141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DAF58-8BBF-5942-9EE2-B93E2FFABF91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6567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DD7EA-6FE7-6344-83D3-057B925219C9}" type="slidenum">
              <a:rPr lang="en-RU" smtClean="0"/>
              <a:t>28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977350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663950" y="2298701"/>
            <a:ext cx="11298238" cy="3536042"/>
          </a:xfrm>
        </p:spPr>
        <p:txBody>
          <a:bodyPr anchor="b">
            <a:noAutofit/>
          </a:bodyPr>
          <a:lstStyle>
            <a:lvl1pPr algn="l">
              <a:defRPr sz="84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663950" y="6224400"/>
            <a:ext cx="11298238" cy="1379974"/>
          </a:xfrm>
        </p:spPr>
        <p:txBody>
          <a:bodyPr lIns="72000" tIns="0" anchor="t">
            <a:no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650138" indent="0" algn="ctr">
              <a:buNone/>
              <a:defRPr sz="2560"/>
            </a:lvl2pPr>
            <a:lvl3pPr marL="1300277" indent="0" algn="ctr">
              <a:buNone/>
              <a:defRPr sz="2560"/>
            </a:lvl3pPr>
            <a:lvl4pPr marL="1950415" indent="0" algn="ctr">
              <a:buNone/>
              <a:defRPr sz="2275"/>
            </a:lvl4pPr>
            <a:lvl5pPr marL="2600554" indent="0" algn="ctr">
              <a:buNone/>
              <a:defRPr sz="2275"/>
            </a:lvl5pPr>
            <a:lvl6pPr marL="3250692" indent="0" algn="ctr">
              <a:buNone/>
              <a:defRPr sz="2275"/>
            </a:lvl6pPr>
            <a:lvl7pPr marL="3900830" indent="0" algn="ctr">
              <a:buNone/>
              <a:defRPr sz="2275"/>
            </a:lvl7pPr>
            <a:lvl8pPr marL="4550969" indent="0" algn="ctr">
              <a:buNone/>
              <a:defRPr sz="2275"/>
            </a:lvl8pPr>
            <a:lvl9pPr marL="5201107" indent="0" algn="ctr">
              <a:buNone/>
              <a:defRPr sz="2275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4F1DFBB-33F8-AB4B-B680-0998BECC6A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63950" y="1443727"/>
            <a:ext cx="3002026" cy="1115038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4" hasCustomPrompt="1"/>
          </p:nvPr>
        </p:nvSpPr>
        <p:spPr>
          <a:xfrm>
            <a:off x="1081087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7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14044509" y="2306467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Рисунок 15">
            <a:extLst>
              <a:ext uri="{FF2B5EF4-FFF2-40B4-BE49-F238E27FC236}">
                <a16:creationId xmlns:a16="http://schemas.microsoft.com/office/drawing/2014/main" id="{A38A9885-CF1E-DE4F-A206-E6FCD2CF1DD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81087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8" name="Рисунок 15">
            <a:extLst>
              <a:ext uri="{FF2B5EF4-FFF2-40B4-BE49-F238E27FC236}">
                <a16:creationId xmlns:a16="http://schemas.microsoft.com/office/drawing/2014/main" id="{56757BD8-C4E9-FA48-8C42-F2917CFA91C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663950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9" name="Рисунок 15">
            <a:extLst>
              <a:ext uri="{FF2B5EF4-FFF2-40B4-BE49-F238E27FC236}">
                <a16:creationId xmlns:a16="http://schemas.microsoft.com/office/drawing/2014/main" id="{12E7B0D7-ACED-F540-B0A6-68E16FE0A9A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65903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0" name="Рисунок 15">
            <a:extLst>
              <a:ext uri="{FF2B5EF4-FFF2-40B4-BE49-F238E27FC236}">
                <a16:creationId xmlns:a16="http://schemas.microsoft.com/office/drawing/2014/main" id="{91127762-ED3A-CB49-9260-6F347CF60A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867671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1" name="Рисунок 15">
            <a:extLst>
              <a:ext uri="{FF2B5EF4-FFF2-40B4-BE49-F238E27FC236}">
                <a16:creationId xmlns:a16="http://schemas.microsoft.com/office/drawing/2014/main" id="{915FA962-AE31-6444-9B20-4646CE2A2D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1448946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2" name="Рисунок 15">
            <a:extLst>
              <a:ext uri="{FF2B5EF4-FFF2-40B4-BE49-F238E27FC236}">
                <a16:creationId xmlns:a16="http://schemas.microsoft.com/office/drawing/2014/main" id="{C9C56C34-9AE7-834F-9F95-74766C9A9ECF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4044509" y="4035513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3" name="Рисунок 15">
            <a:extLst>
              <a:ext uri="{FF2B5EF4-FFF2-40B4-BE49-F238E27FC236}">
                <a16:creationId xmlns:a16="http://schemas.microsoft.com/office/drawing/2014/main" id="{31149E60-2318-8F4C-9E80-1FD724EA2C5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81087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4" name="Рисунок 15">
            <a:extLst>
              <a:ext uri="{FF2B5EF4-FFF2-40B4-BE49-F238E27FC236}">
                <a16:creationId xmlns:a16="http://schemas.microsoft.com/office/drawing/2014/main" id="{85847026-4641-7742-976E-1A93044A041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63950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Рисунок 15">
            <a:extLst>
              <a:ext uri="{FF2B5EF4-FFF2-40B4-BE49-F238E27FC236}">
                <a16:creationId xmlns:a16="http://schemas.microsoft.com/office/drawing/2014/main" id="{4AD3AC80-F665-D94E-853A-AB7D2FFB991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65903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6" name="Рисунок 15">
            <a:extLst>
              <a:ext uri="{FF2B5EF4-FFF2-40B4-BE49-F238E27FC236}">
                <a16:creationId xmlns:a16="http://schemas.microsoft.com/office/drawing/2014/main" id="{5CCBCADE-14FF-EE49-A60D-C8B69D455AC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867671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7" name="Рисунок 15">
            <a:extLst>
              <a:ext uri="{FF2B5EF4-FFF2-40B4-BE49-F238E27FC236}">
                <a16:creationId xmlns:a16="http://schemas.microsoft.com/office/drawing/2014/main" id="{6E7BE24F-0283-5845-9438-C709BAC02EA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1448946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8" name="Рисунок 15">
            <a:extLst>
              <a:ext uri="{FF2B5EF4-FFF2-40B4-BE49-F238E27FC236}">
                <a16:creationId xmlns:a16="http://schemas.microsoft.com/office/drawing/2014/main" id="{CC9F133D-9A92-E440-ADD2-5CDA1129554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4044509" y="5764559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Рисунок 15">
            <a:extLst>
              <a:ext uri="{FF2B5EF4-FFF2-40B4-BE49-F238E27FC236}">
                <a16:creationId xmlns:a16="http://schemas.microsoft.com/office/drawing/2014/main" id="{23CD8FB3-041E-1246-A6A0-07D60F70575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081087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0" name="Рисунок 15">
            <a:extLst>
              <a:ext uri="{FF2B5EF4-FFF2-40B4-BE49-F238E27FC236}">
                <a16:creationId xmlns:a16="http://schemas.microsoft.com/office/drawing/2014/main" id="{49D997F2-1BB0-2E46-92EE-7CF7C74482C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63950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1" name="Рисунок 15">
            <a:extLst>
              <a:ext uri="{FF2B5EF4-FFF2-40B4-BE49-F238E27FC236}">
                <a16:creationId xmlns:a16="http://schemas.microsoft.com/office/drawing/2014/main" id="{120B12C9-0961-3045-A771-E3200A93ED7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65903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2" name="Рисунок 15">
            <a:extLst>
              <a:ext uri="{FF2B5EF4-FFF2-40B4-BE49-F238E27FC236}">
                <a16:creationId xmlns:a16="http://schemas.microsoft.com/office/drawing/2014/main" id="{EC610539-6146-CD4B-A3D8-AB9AC101259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867671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3" name="Рисунок 15">
            <a:extLst>
              <a:ext uri="{FF2B5EF4-FFF2-40B4-BE49-F238E27FC236}">
                <a16:creationId xmlns:a16="http://schemas.microsoft.com/office/drawing/2014/main" id="{1942A58A-B417-4A45-9FA8-CF1E39F4F0A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11448946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44" name="Рисунок 15">
            <a:extLst>
              <a:ext uri="{FF2B5EF4-FFF2-40B4-BE49-F238E27FC236}">
                <a16:creationId xmlns:a16="http://schemas.microsoft.com/office/drawing/2014/main" id="{23CE354C-CF17-844F-836A-9BA4EDFF470C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4044509" y="7493605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</p:spTree>
    <p:extLst>
      <p:ext uri="{BB962C8B-B14F-4D97-AF65-F5344CB8AC3E}">
        <p14:creationId xmlns:p14="http://schemas.microsoft.com/office/powerpoint/2010/main" val="3992492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18"/>
          </p:nvPr>
        </p:nvSpPr>
        <p:spPr>
          <a:xfrm>
            <a:off x="6265904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20"/>
          </p:nvPr>
        </p:nvSpPr>
        <p:spPr>
          <a:xfrm>
            <a:off x="8867672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8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18"/>
          </p:nvPr>
        </p:nvSpPr>
        <p:spPr>
          <a:xfrm>
            <a:off x="7553325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6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7553324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256338" y="2298699"/>
            <a:ext cx="10001250" cy="6189663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0"/>
            <a:ext cx="4814887" cy="61896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2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256338" y="2298700"/>
            <a:ext cx="10001250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5"/>
          </p:nvPr>
        </p:nvSpPr>
        <p:spPr>
          <a:xfrm>
            <a:off x="6256338" y="5454206"/>
            <a:ext cx="10001250" cy="3034157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0"/>
            <a:ext cx="4814887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8874124" y="2298700"/>
            <a:ext cx="7383463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5"/>
          </p:nvPr>
        </p:nvSpPr>
        <p:spPr>
          <a:xfrm>
            <a:off x="8874124" y="5454206"/>
            <a:ext cx="7383463" cy="3034157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Диаграмма 4"/>
          <p:cNvSpPr>
            <a:spLocks noGrp="1"/>
          </p:cNvSpPr>
          <p:nvPr>
            <p:ph type="chart" sz="quarter" idx="16"/>
          </p:nvPr>
        </p:nvSpPr>
        <p:spPr>
          <a:xfrm>
            <a:off x="1081088" y="2298700"/>
            <a:ext cx="7383463" cy="2662406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Диаграмма 7"/>
          <p:cNvSpPr>
            <a:spLocks noGrp="1"/>
          </p:cNvSpPr>
          <p:nvPr>
            <p:ph type="chart" sz="quarter" idx="17"/>
          </p:nvPr>
        </p:nvSpPr>
        <p:spPr>
          <a:xfrm>
            <a:off x="1081088" y="5454206"/>
            <a:ext cx="7383463" cy="3034157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7042826"/>
            <a:ext cx="12580937" cy="1445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7"/>
          </p:nvPr>
        </p:nvSpPr>
        <p:spPr>
          <a:xfrm>
            <a:off x="1081088" y="2298700"/>
            <a:ext cx="7381875" cy="441325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8874125" y="2298700"/>
            <a:ext cx="7381875" cy="4413250"/>
          </a:xfr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2298701"/>
            <a:ext cx="7381875" cy="11402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7"/>
          </p:nvPr>
        </p:nvSpPr>
        <p:spPr>
          <a:xfrm>
            <a:off x="1081088" y="3796748"/>
            <a:ext cx="7381875" cy="4691614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8874125" y="3796748"/>
            <a:ext cx="7381875" cy="4691613"/>
          </a:xfrm>
        </p:spPr>
        <p:txBody>
          <a:bodyPr/>
          <a:lstStyle/>
          <a:p>
            <a:endParaRPr lang="ru-RU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9"/>
          </p:nvPr>
        </p:nvSpPr>
        <p:spPr>
          <a:xfrm>
            <a:off x="8874125" y="2298701"/>
            <a:ext cx="7381875" cy="114023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изображения и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6"/>
          </p:nvPr>
        </p:nvSpPr>
        <p:spPr>
          <a:xfrm>
            <a:off x="1081088" y="7042826"/>
            <a:ext cx="4814887" cy="14455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 dirty="0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7"/>
          </p:nvPr>
        </p:nvSpPr>
        <p:spPr>
          <a:xfrm>
            <a:off x="6265863" y="7042826"/>
            <a:ext cx="4814887" cy="14455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9"/>
          <p:cNvSpPr>
            <a:spLocks noGrp="1"/>
          </p:cNvSpPr>
          <p:nvPr>
            <p:ph type="body" sz="quarter" idx="18"/>
          </p:nvPr>
        </p:nvSpPr>
        <p:spPr>
          <a:xfrm>
            <a:off x="11442701" y="7042826"/>
            <a:ext cx="4814887" cy="14455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9"/>
          </p:nvPr>
        </p:nvSpPr>
        <p:spPr>
          <a:xfrm>
            <a:off x="1081088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20"/>
          </p:nvPr>
        </p:nvSpPr>
        <p:spPr>
          <a:xfrm>
            <a:off x="6256338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Рисунок 3"/>
          <p:cNvSpPr>
            <a:spLocks noGrp="1"/>
          </p:cNvSpPr>
          <p:nvPr>
            <p:ph type="pic" sz="quarter" idx="21"/>
          </p:nvPr>
        </p:nvSpPr>
        <p:spPr>
          <a:xfrm>
            <a:off x="11441113" y="2298700"/>
            <a:ext cx="4814887" cy="44323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-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663950" y="2298701"/>
            <a:ext cx="11298238" cy="353604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1">
          <p15:clr>
            <a:srgbClr val="FBAE40"/>
          </p15:clr>
        </p15:guide>
        <p15:guide id="2" orient="horz" pos="291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5959620F-FF1D-4B4A-A645-18C3FAB57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813030"/>
              </p:ext>
            </p:extLst>
          </p:nvPr>
        </p:nvGraphicFramePr>
        <p:xfrm>
          <a:off x="2628" y="2627"/>
          <a:ext cx="2031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5959620F-FF1D-4B4A-A645-18C3FAB57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8" y="2627"/>
                        <a:ext cx="2031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5966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1">
          <p15:clr>
            <a:srgbClr val="FBAE40"/>
          </p15:clr>
        </p15:guide>
        <p15:guide id="2" pos="488">
          <p15:clr>
            <a:srgbClr val="FBAE40"/>
          </p15:clr>
        </p15:guide>
        <p15:guide id="3" orient="horz" pos="22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3540077"/>
          </a:xfrm>
          <a:prstGeom prst="rect">
            <a:avLst/>
          </a:prstGeom>
        </p:spPr>
        <p:txBody>
          <a:bodyPr anchor="b"/>
          <a:lstStyle>
            <a:lvl1pPr>
              <a:defRPr sz="8401" b="0"/>
            </a:lvl1pPr>
          </a:lstStyle>
          <a:p>
            <a:r>
              <a:t>Образец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6231501"/>
            <a:ext cx="12551339" cy="1381549"/>
          </a:xfrm>
          <a:prstGeom prst="rect">
            <a:avLst/>
          </a:prstGeom>
        </p:spPr>
        <p:txBody>
          <a:bodyPr>
            <a:normAutofit/>
          </a:bodyPr>
          <a:lstStyle>
            <a:lvl2pPr indent="650202"/>
            <a:lvl3pPr marL="0" indent="1300407">
              <a:buSzTx/>
              <a:buNone/>
            </a:lvl3pPr>
            <a:lvl4pPr marL="0" indent="1950610">
              <a:buSzTx/>
              <a:buNone/>
            </a:lvl4pPr>
            <a:lvl5pPr marL="0" indent="2600814"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3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_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3540077"/>
          </a:xfrm>
          <a:prstGeom prst="rect">
            <a:avLst/>
          </a:prstGeom>
        </p:spPr>
        <p:txBody>
          <a:bodyPr anchor="b"/>
          <a:lstStyle>
            <a:lvl1pPr>
              <a:defRPr sz="84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6231501"/>
            <a:ext cx="12551339" cy="1381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 indent="650202">
              <a:defRPr>
                <a:solidFill>
                  <a:srgbClr val="FFFFFF"/>
                </a:solidFill>
              </a:defRPr>
            </a:lvl2pPr>
            <a:lvl3pPr marL="0" indent="1300407">
              <a:buSzTx/>
              <a:buNone/>
              <a:defRPr>
                <a:solidFill>
                  <a:srgbClr val="FFFFFF"/>
                </a:solidFill>
              </a:defRPr>
            </a:lvl3pPr>
            <a:lvl4pPr marL="0" indent="1950610">
              <a:buSzTx/>
              <a:buNone/>
              <a:defRPr>
                <a:solidFill>
                  <a:srgbClr val="FFFFFF"/>
                </a:solidFill>
              </a:defRPr>
            </a:lvl4pPr>
            <a:lvl5pPr marL="0" indent="2600814">
              <a:buSzTx/>
              <a:buNone/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23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1" y="2303025"/>
            <a:ext cx="12585267" cy="354007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66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Номерной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132827" y="2310178"/>
            <a:ext cx="10936105" cy="3540077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6601" b="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78293" y="3607923"/>
            <a:ext cx="1285994" cy="2242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202" b="1">
                <a:solidFill>
                  <a:srgbClr val="FFFFFF"/>
                </a:solidFill>
              </a:defRPr>
            </a:lvl1pPr>
            <a:lvl2pPr>
              <a:defRPr sz="18202" b="1">
                <a:solidFill>
                  <a:srgbClr val="FFFFFF"/>
                </a:solidFill>
              </a:defRPr>
            </a:lvl2pPr>
            <a:lvl3pPr marL="4095410" indent="-4095410">
              <a:defRPr sz="18202" b="1">
                <a:solidFill>
                  <a:srgbClr val="FFFFFF"/>
                </a:solidFill>
              </a:defRPr>
            </a:lvl3pPr>
            <a:lvl4pPr marL="4131413" indent="-4095410">
              <a:defRPr sz="18202" b="1">
                <a:solidFill>
                  <a:srgbClr val="FFFFFF"/>
                </a:solidFill>
              </a:defRPr>
            </a:lvl4pPr>
            <a:lvl5pPr marL="3270327" indent="-2730273">
              <a:defRPr sz="18202" b="1">
                <a:solidFill>
                  <a:srgbClr val="FFFFFF"/>
                </a:solidFill>
              </a:defRPr>
            </a:lvl5pPr>
          </a:lstStyle>
          <a:p>
            <a:r>
              <a:t>0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 или тез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Образец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2412222" y="2301323"/>
            <a:ext cx="12514235" cy="5108046"/>
          </a:xfrm>
          <a:prstGeom prst="rect">
            <a:avLst/>
          </a:prstGeom>
        </p:spPr>
        <p:txBody>
          <a:bodyPr anchor="ctr"/>
          <a:lstStyle>
            <a:lvl1pPr>
              <a:defRPr sz="6601" b="0">
                <a:solidFill>
                  <a:srgbClr val="005B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412221" y="7609622"/>
            <a:ext cx="12551339" cy="888425"/>
          </a:xfrm>
          <a:prstGeom prst="rect">
            <a:avLst/>
          </a:prstGeom>
        </p:spPr>
        <p:txBody>
          <a:bodyPr>
            <a:normAutofit/>
          </a:bodyPr>
          <a:lstStyle>
            <a:lvl2pPr indent="650202"/>
            <a:lvl3pPr marL="0" indent="1300407">
              <a:buSzTx/>
              <a:buNone/>
            </a:lvl3pPr>
            <a:lvl4pPr marL="0" indent="1950610">
              <a:buSzTx/>
              <a:buNone/>
            </a:lvl4pPr>
            <a:lvl5pPr marL="0" indent="2600814"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081186" y="2301323"/>
            <a:ext cx="12582090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081186" y="2301323"/>
            <a:ext cx="7382552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 2 объект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7" name="Текст 4"/>
          <p:cNvSpPr>
            <a:spLocks noGrp="1"/>
          </p:cNvSpPr>
          <p:nvPr>
            <p:ph type="body" sz="quarter" idx="21"/>
          </p:nvPr>
        </p:nvSpPr>
        <p:spPr>
          <a:xfrm>
            <a:off x="1081188" y="2301322"/>
            <a:ext cx="4815328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7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6000"/>
            <a:ext cx="15176500" cy="1116965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081088" y="2298700"/>
            <a:ext cx="12580937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рямоугольник 13"/>
          <p:cNvSpPr/>
          <p:nvPr/>
        </p:nvSpPr>
        <p:spPr>
          <a:xfrm>
            <a:off x="-1" y="-1"/>
            <a:ext cx="6256913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8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5332"/>
            <a:ext cx="4815330" cy="113635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59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8" name="Текст 15"/>
          <p:cNvSpPr>
            <a:spLocks noGrp="1"/>
          </p:cNvSpPr>
          <p:nvPr>
            <p:ph type="body" sz="quarter" idx="21"/>
          </p:nvPr>
        </p:nvSpPr>
        <p:spPr>
          <a:xfrm>
            <a:off x="1081186" y="2301322"/>
            <a:ext cx="4815330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9" name="Текст 17"/>
          <p:cNvSpPr>
            <a:spLocks noGrp="1"/>
          </p:cNvSpPr>
          <p:nvPr>
            <p:ph type="body" sz="quarter" idx="22"/>
          </p:nvPr>
        </p:nvSpPr>
        <p:spPr>
          <a:xfrm>
            <a:off x="7557510" y="8992322"/>
            <a:ext cx="5159916" cy="32263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>
              <a:defRPr sz="1400"/>
            </a:pPr>
            <a:endParaRPr/>
          </a:p>
        </p:txBody>
      </p:sp>
      <p:sp>
        <p:nvSpPr>
          <p:cNvPr id="9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Прямоугольник 8"/>
          <p:cNvSpPr/>
          <p:nvPr/>
        </p:nvSpPr>
        <p:spPr>
          <a:xfrm>
            <a:off x="5896514" y="-1"/>
            <a:ext cx="11442163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6" y="575332"/>
            <a:ext cx="3878617" cy="113635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557510" y="8992322"/>
            <a:ext cx="5159916" cy="3226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 sz="1400">
                <a:solidFill>
                  <a:srgbClr val="FFFFFF"/>
                </a:solidFill>
              </a:defRPr>
            </a:lvl2pPr>
            <a:lvl3pPr marL="315032" indent="-315032">
              <a:defRPr sz="1400">
                <a:solidFill>
                  <a:srgbClr val="FFFFFF"/>
                </a:solidFill>
              </a:defRPr>
            </a:lvl3pPr>
            <a:lvl4pPr marL="351035" indent="-315032">
              <a:defRPr sz="1400">
                <a:solidFill>
                  <a:srgbClr val="FFFFFF"/>
                </a:solidFill>
              </a:defRPr>
            </a:lvl4pPr>
            <a:lvl5pPr marL="750074" indent="-210020">
              <a:defRPr sz="14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0" name="Текст 9"/>
          <p:cNvSpPr>
            <a:spLocks noGrp="1"/>
          </p:cNvSpPr>
          <p:nvPr>
            <p:ph type="body" sz="quarter" idx="21"/>
          </p:nvPr>
        </p:nvSpPr>
        <p:spPr>
          <a:xfrm>
            <a:off x="1081187" y="2301322"/>
            <a:ext cx="3878618" cy="619672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0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Прямоугольник 15"/>
          <p:cNvSpPr/>
          <p:nvPr/>
        </p:nvSpPr>
        <p:spPr>
          <a:xfrm>
            <a:off x="11440775" y="-1"/>
            <a:ext cx="5896516" cy="9763141"/>
          </a:xfrm>
          <a:prstGeom prst="rect">
            <a:avLst/>
          </a:prstGeom>
          <a:solidFill>
            <a:srgbClr val="005BFF"/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2500"/>
          </a:p>
        </p:txBody>
      </p:sp>
      <p:sp>
        <p:nvSpPr>
          <p:cNvPr id="1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8" y="575332"/>
            <a:ext cx="10000579" cy="113635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2378873" y="2301322"/>
            <a:ext cx="3880206" cy="6196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0" name="Текст 7"/>
          <p:cNvSpPr>
            <a:spLocks noGrp="1"/>
          </p:cNvSpPr>
          <p:nvPr>
            <p:ph type="body" sz="quarter" idx="21"/>
          </p:nvPr>
        </p:nvSpPr>
        <p:spPr>
          <a:xfrm>
            <a:off x="366428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1" name="Рисунок 15"/>
          <p:cNvSpPr>
            <a:spLocks noGrp="1"/>
          </p:cNvSpPr>
          <p:nvPr>
            <p:ph type="pic" sz="quarter" idx="22"/>
          </p:nvPr>
        </p:nvSpPr>
        <p:spPr>
          <a:xfrm>
            <a:off x="1081186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2" name="Рисунок 15"/>
          <p:cNvSpPr>
            <a:spLocks noGrp="1"/>
          </p:cNvSpPr>
          <p:nvPr>
            <p:ph type="pic" sz="quarter" idx="23"/>
          </p:nvPr>
        </p:nvSpPr>
        <p:spPr>
          <a:xfrm>
            <a:off x="3664285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3" name="Текст 7"/>
          <p:cNvSpPr>
            <a:spLocks noGrp="1"/>
          </p:cNvSpPr>
          <p:nvPr>
            <p:ph type="body" sz="quarter" idx="24"/>
          </p:nvPr>
        </p:nvSpPr>
        <p:spPr>
          <a:xfrm>
            <a:off x="6266478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4" name="Рисунок 15"/>
          <p:cNvSpPr>
            <a:spLocks noGrp="1"/>
          </p:cNvSpPr>
          <p:nvPr>
            <p:ph type="pic" sz="quarter" idx="25"/>
          </p:nvPr>
        </p:nvSpPr>
        <p:spPr>
          <a:xfrm>
            <a:off x="6266476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5" name="Текст 7"/>
          <p:cNvSpPr>
            <a:spLocks noGrp="1"/>
          </p:cNvSpPr>
          <p:nvPr>
            <p:ph type="body" sz="quarter" idx="26"/>
          </p:nvPr>
        </p:nvSpPr>
        <p:spPr>
          <a:xfrm>
            <a:off x="8868484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6" name="Рисунок 15"/>
          <p:cNvSpPr>
            <a:spLocks noGrp="1"/>
          </p:cNvSpPr>
          <p:nvPr>
            <p:ph type="pic" sz="quarter" idx="27"/>
          </p:nvPr>
        </p:nvSpPr>
        <p:spPr>
          <a:xfrm>
            <a:off x="8868484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7" name="Текст 7"/>
          <p:cNvSpPr>
            <a:spLocks noGrp="1"/>
          </p:cNvSpPr>
          <p:nvPr>
            <p:ph type="body" sz="quarter" idx="28"/>
          </p:nvPr>
        </p:nvSpPr>
        <p:spPr>
          <a:xfrm>
            <a:off x="11449995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28" name="Рисунок 15"/>
          <p:cNvSpPr>
            <a:spLocks noGrp="1"/>
          </p:cNvSpPr>
          <p:nvPr>
            <p:ph type="pic" sz="quarter" idx="29"/>
          </p:nvPr>
        </p:nvSpPr>
        <p:spPr>
          <a:xfrm>
            <a:off x="114499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29" name="Текст 7"/>
          <p:cNvSpPr>
            <a:spLocks noGrp="1"/>
          </p:cNvSpPr>
          <p:nvPr>
            <p:ph type="body" sz="quarter" idx="30"/>
          </p:nvPr>
        </p:nvSpPr>
        <p:spPr>
          <a:xfrm>
            <a:off x="1404579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30" name="Рисунок 15"/>
          <p:cNvSpPr>
            <a:spLocks noGrp="1"/>
          </p:cNvSpPr>
          <p:nvPr>
            <p:ph type="pic" sz="quarter" idx="31"/>
          </p:nvPr>
        </p:nvSpPr>
        <p:spPr>
          <a:xfrm>
            <a:off x="140457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3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3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0" name="Рисунок 15"/>
          <p:cNvSpPr>
            <a:spLocks noGrp="1"/>
          </p:cNvSpPr>
          <p:nvPr>
            <p:ph type="pic" sz="quarter" idx="21"/>
          </p:nvPr>
        </p:nvSpPr>
        <p:spPr>
          <a:xfrm>
            <a:off x="2378293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1" name="Текст 7"/>
          <p:cNvSpPr>
            <a:spLocks noGrp="1"/>
          </p:cNvSpPr>
          <p:nvPr>
            <p:ph type="body" sz="quarter" idx="22"/>
          </p:nvPr>
        </p:nvSpPr>
        <p:spPr>
          <a:xfrm>
            <a:off x="588857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2" name="Рисунок 15"/>
          <p:cNvSpPr>
            <a:spLocks noGrp="1"/>
          </p:cNvSpPr>
          <p:nvPr>
            <p:ph type="pic" sz="quarter" idx="23"/>
          </p:nvPr>
        </p:nvSpPr>
        <p:spPr>
          <a:xfrm>
            <a:off x="5888577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3" name="Текст 7"/>
          <p:cNvSpPr>
            <a:spLocks noGrp="1"/>
          </p:cNvSpPr>
          <p:nvPr>
            <p:ph type="body" sz="quarter" idx="24"/>
          </p:nvPr>
        </p:nvSpPr>
        <p:spPr>
          <a:xfrm>
            <a:off x="9317097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4" name="Рисунок 15"/>
          <p:cNvSpPr>
            <a:spLocks noGrp="1"/>
          </p:cNvSpPr>
          <p:nvPr>
            <p:ph type="pic" sz="quarter" idx="25"/>
          </p:nvPr>
        </p:nvSpPr>
        <p:spPr>
          <a:xfrm>
            <a:off x="9317097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5" name="Текст 7"/>
          <p:cNvSpPr>
            <a:spLocks noGrp="1"/>
          </p:cNvSpPr>
          <p:nvPr>
            <p:ph type="body" sz="quarter" idx="26"/>
          </p:nvPr>
        </p:nvSpPr>
        <p:spPr>
          <a:xfrm>
            <a:off x="12737680" y="5043110"/>
            <a:ext cx="220700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46" name="Рисунок 15"/>
          <p:cNvSpPr>
            <a:spLocks noGrp="1"/>
          </p:cNvSpPr>
          <p:nvPr>
            <p:ph type="pic" sz="quarter" idx="27"/>
          </p:nvPr>
        </p:nvSpPr>
        <p:spPr>
          <a:xfrm>
            <a:off x="12737680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4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2" y="5043110"/>
            <a:ext cx="2581512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6" name="Рисунок 15"/>
          <p:cNvSpPr>
            <a:spLocks noGrp="1"/>
          </p:cNvSpPr>
          <p:nvPr>
            <p:ph type="pic" sz="quarter" idx="21"/>
          </p:nvPr>
        </p:nvSpPr>
        <p:spPr>
          <a:xfrm>
            <a:off x="2378292" y="3624010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7" name="Текст 7"/>
          <p:cNvSpPr>
            <a:spLocks noGrp="1"/>
          </p:cNvSpPr>
          <p:nvPr>
            <p:ph type="body" sz="quarter" idx="22"/>
          </p:nvPr>
        </p:nvSpPr>
        <p:spPr>
          <a:xfrm>
            <a:off x="6914142" y="5043110"/>
            <a:ext cx="2630781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58" name="Рисунок 15"/>
          <p:cNvSpPr>
            <a:spLocks noGrp="1"/>
          </p:cNvSpPr>
          <p:nvPr>
            <p:ph type="pic" sz="quarter" idx="23"/>
          </p:nvPr>
        </p:nvSpPr>
        <p:spPr>
          <a:xfrm>
            <a:off x="691414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59" name="Текст 7"/>
          <p:cNvSpPr>
            <a:spLocks noGrp="1"/>
          </p:cNvSpPr>
          <p:nvPr>
            <p:ph type="body" sz="quarter" idx="24"/>
          </p:nvPr>
        </p:nvSpPr>
        <p:spPr>
          <a:xfrm>
            <a:off x="11449995" y="5043110"/>
            <a:ext cx="2576853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60" name="Рисунок 15"/>
          <p:cNvSpPr>
            <a:spLocks noGrp="1"/>
          </p:cNvSpPr>
          <p:nvPr>
            <p:ph type="pic" sz="quarter" idx="25"/>
          </p:nvPr>
        </p:nvSpPr>
        <p:spPr>
          <a:xfrm>
            <a:off x="11449995" y="3624010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6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важных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8293" y="5043110"/>
            <a:ext cx="3492996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0" name="Текст 7"/>
          <p:cNvSpPr>
            <a:spLocks noGrp="1"/>
          </p:cNvSpPr>
          <p:nvPr>
            <p:ph type="body" sz="quarter" idx="21"/>
          </p:nvPr>
        </p:nvSpPr>
        <p:spPr>
          <a:xfrm>
            <a:off x="6901846" y="5043110"/>
            <a:ext cx="3492997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1" name="Текст 7"/>
          <p:cNvSpPr>
            <a:spLocks noGrp="1"/>
          </p:cNvSpPr>
          <p:nvPr>
            <p:ph type="body" sz="quarter" idx="22"/>
          </p:nvPr>
        </p:nvSpPr>
        <p:spPr>
          <a:xfrm>
            <a:off x="11456167" y="5043110"/>
            <a:ext cx="3478989" cy="3062606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3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2361531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  <p:sp>
        <p:nvSpPr>
          <p:cNvPr id="174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901846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  <p:sp>
        <p:nvSpPr>
          <p:cNvPr id="175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11442162" y="3754677"/>
            <a:ext cx="3492997" cy="12082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201" b="1">
                <a:solidFill>
                  <a:srgbClr val="005BFF"/>
                </a:solidFill>
              </a:defRPr>
            </a:lvl1pPr>
          </a:lstStyle>
          <a:p>
            <a:r>
              <a:t>00</a:t>
            </a:r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ая циф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980796" y="5578482"/>
            <a:ext cx="7418717" cy="25272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200"/>
            </a:lvl1pPr>
            <a:lvl2pPr>
              <a:defRPr sz="4200"/>
            </a:lvl2pPr>
            <a:lvl3pPr marL="945093" indent="-945093">
              <a:defRPr sz="4200"/>
            </a:lvl3pPr>
            <a:lvl4pPr marL="981098" indent="-945093">
              <a:defRPr sz="4200"/>
            </a:lvl4pPr>
            <a:lvl5pPr marL="1170116" indent="-630063">
              <a:defRPr sz="4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4980796" y="2594956"/>
            <a:ext cx="7418717" cy="2968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202" b="1">
                <a:solidFill>
                  <a:srgbClr val="005BFF"/>
                </a:solidFill>
              </a:defRPr>
            </a:lvl1pPr>
          </a:lstStyle>
          <a:p>
            <a:r>
              <a:t>000</a:t>
            </a:r>
          </a:p>
        </p:txBody>
      </p:sp>
      <p:sp>
        <p:nvSpPr>
          <p:cNvPr id="18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9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2301323"/>
            <a:ext cx="4815330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2 объект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6000"/>
            <a:ext cx="15176500" cy="1116965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081088" y="2298700"/>
            <a:ext cx="7381875" cy="6189663"/>
          </a:xfrm>
        </p:spPr>
        <p:txBody>
          <a:bodyPr tIns="10800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/>
          </p:nvPr>
        </p:nvSpPr>
        <p:spPr>
          <a:xfrm>
            <a:off x="8874125" y="2298700"/>
            <a:ext cx="7383463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ы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6" y="7050860"/>
            <a:ext cx="12582090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 и диаграммы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1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6" y="2301323"/>
            <a:ext cx="7382552" cy="114154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9" name="Текст 9"/>
          <p:cNvSpPr>
            <a:spLocks noGrp="1"/>
          </p:cNvSpPr>
          <p:nvPr>
            <p:ph type="body" sz="quarter" idx="21"/>
          </p:nvPr>
        </p:nvSpPr>
        <p:spPr>
          <a:xfrm>
            <a:off x="8874939" y="2301323"/>
            <a:ext cx="7382551" cy="114154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изображения и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2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81187" y="7050860"/>
            <a:ext cx="4815330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9" name="Текст 9"/>
          <p:cNvSpPr>
            <a:spLocks noGrp="1"/>
          </p:cNvSpPr>
          <p:nvPr>
            <p:ph type="body" sz="quarter" idx="21"/>
          </p:nvPr>
        </p:nvSpPr>
        <p:spPr>
          <a:xfrm>
            <a:off x="6266436" y="7050860"/>
            <a:ext cx="4815329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30" name="Текст 9"/>
          <p:cNvSpPr>
            <a:spLocks noGrp="1"/>
          </p:cNvSpPr>
          <p:nvPr>
            <p:ph type="body" sz="quarter" idx="22"/>
          </p:nvPr>
        </p:nvSpPr>
        <p:spPr>
          <a:xfrm>
            <a:off x="11443748" y="7050860"/>
            <a:ext cx="4815329" cy="14471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231" name="Рисунок 3"/>
          <p:cNvSpPr>
            <a:spLocks noGrp="1"/>
          </p:cNvSpPr>
          <p:nvPr>
            <p:ph type="pic" sz="quarter" idx="23"/>
          </p:nvPr>
        </p:nvSpPr>
        <p:spPr>
          <a:xfrm>
            <a:off x="1081187" y="2301322"/>
            <a:ext cx="4815330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2" name="Рисунок 3"/>
          <p:cNvSpPr>
            <a:spLocks noGrp="1"/>
          </p:cNvSpPr>
          <p:nvPr>
            <p:ph type="pic" sz="quarter" idx="24"/>
          </p:nvPr>
        </p:nvSpPr>
        <p:spPr>
          <a:xfrm>
            <a:off x="6256910" y="2301322"/>
            <a:ext cx="4815329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3" name="Рисунок 3"/>
          <p:cNvSpPr>
            <a:spLocks noGrp="1"/>
          </p:cNvSpPr>
          <p:nvPr>
            <p:ph type="pic" sz="quarter" idx="25"/>
          </p:nvPr>
        </p:nvSpPr>
        <p:spPr>
          <a:xfrm>
            <a:off x="11442161" y="2301322"/>
            <a:ext cx="4815329" cy="44373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iPhone и текс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44" name="Рисунок 13" descr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9711" y="1666289"/>
            <a:ext cx="3657280" cy="7286301"/>
          </a:xfrm>
          <a:prstGeom prst="rect">
            <a:avLst/>
          </a:prstGeom>
          <a:ln w="12700">
            <a:miter lim="400000"/>
          </a:ln>
        </p:spPr>
      </p:pic>
      <p:sp>
        <p:nvSpPr>
          <p:cNvPr id="245" name="Рисунок 8"/>
          <p:cNvSpPr>
            <a:spLocks noGrp="1"/>
          </p:cNvSpPr>
          <p:nvPr>
            <p:ph type="pic" sz="quarter" idx="21"/>
          </p:nvPr>
        </p:nvSpPr>
        <p:spPr>
          <a:xfrm>
            <a:off x="1313522" y="2128710"/>
            <a:ext cx="2929658" cy="6361459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iPhone и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554016" y="576658"/>
            <a:ext cx="870506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5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61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55" name="Рисунок 8" descr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554" y="193129"/>
            <a:ext cx="5551809" cy="11060721"/>
          </a:xfrm>
          <a:prstGeom prst="rect">
            <a:avLst/>
          </a:prstGeom>
          <a:ln w="12700">
            <a:miter lim="400000"/>
          </a:ln>
        </p:spPr>
      </p:pic>
      <p:sp>
        <p:nvSpPr>
          <p:cNvPr id="256" name="Рисунок 8"/>
          <p:cNvSpPr>
            <a:spLocks noGrp="1"/>
          </p:cNvSpPr>
          <p:nvPr>
            <p:ph type="pic" sz="half" idx="21"/>
          </p:nvPr>
        </p:nvSpPr>
        <p:spPr>
          <a:xfrm>
            <a:off x="1938824" y="890966"/>
            <a:ext cx="4447269" cy="965679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Android и текст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6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56911" y="2301323"/>
            <a:ext cx="1000216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66" name="Рисунок 9" descr="Рисунок 9"/>
          <p:cNvPicPr>
            <a:picLocks noChangeAspect="1"/>
          </p:cNvPicPr>
          <p:nvPr/>
        </p:nvPicPr>
        <p:blipFill>
          <a:blip r:embed="rId2"/>
          <a:srcRect l="1455" t="1556" r="1581" b="789"/>
          <a:stretch>
            <a:fillRect/>
          </a:stretch>
        </p:blipFill>
        <p:spPr>
          <a:xfrm>
            <a:off x="703333" y="1583643"/>
            <a:ext cx="3869883" cy="7406111"/>
          </a:xfrm>
          <a:prstGeom prst="rect">
            <a:avLst/>
          </a:prstGeom>
          <a:ln w="12700">
            <a:miter lim="400000"/>
          </a:ln>
        </p:spPr>
      </p:pic>
      <p:sp>
        <p:nvSpPr>
          <p:cNvPr id="267" name="Рисунок 8"/>
          <p:cNvSpPr>
            <a:spLocks noGrp="1"/>
          </p:cNvSpPr>
          <p:nvPr>
            <p:ph type="pic" sz="quarter" idx="21"/>
          </p:nvPr>
        </p:nvSpPr>
        <p:spPr>
          <a:xfrm>
            <a:off x="1123426" y="2052276"/>
            <a:ext cx="3024565" cy="6441494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Android и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554016" y="576658"/>
            <a:ext cx="870506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7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7554017" y="2301323"/>
            <a:ext cx="8705061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77" name="Рисунок 11" descr="Рисунок 11"/>
          <p:cNvPicPr>
            <a:picLocks noChangeAspect="1"/>
          </p:cNvPicPr>
          <p:nvPr/>
        </p:nvPicPr>
        <p:blipFill>
          <a:blip r:embed="rId2"/>
          <a:srcRect l="1456" t="1556" r="1582" b="790"/>
          <a:stretch>
            <a:fillRect/>
          </a:stretch>
        </p:blipFill>
        <p:spPr>
          <a:xfrm>
            <a:off x="1081185" y="132096"/>
            <a:ext cx="5887811" cy="11267983"/>
          </a:xfrm>
          <a:prstGeom prst="rect">
            <a:avLst/>
          </a:prstGeom>
          <a:ln w="12700">
            <a:miter lim="400000"/>
          </a:ln>
        </p:spPr>
      </p:pic>
      <p:sp>
        <p:nvSpPr>
          <p:cNvPr id="278" name="Рисунок 8"/>
          <p:cNvSpPr>
            <a:spLocks noGrp="1"/>
          </p:cNvSpPr>
          <p:nvPr>
            <p:ph type="pic" sz="half" idx="21"/>
          </p:nvPr>
        </p:nvSpPr>
        <p:spPr>
          <a:xfrm>
            <a:off x="1724237" y="838816"/>
            <a:ext cx="4601707" cy="9800372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скрин ноутбу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7" y="576658"/>
            <a:ext cx="15177891" cy="111823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8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1442161" y="2301323"/>
            <a:ext cx="4816917" cy="619672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88" name="Объект 7" descr="Объект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317" y="2145935"/>
            <a:ext cx="10833976" cy="6504254"/>
          </a:xfrm>
          <a:prstGeom prst="rect">
            <a:avLst/>
          </a:prstGeom>
          <a:ln w="12700">
            <a:miter lim="400000"/>
          </a:ln>
        </p:spPr>
      </p:pic>
      <p:sp>
        <p:nvSpPr>
          <p:cNvPr id="289" name="Рисунок 8"/>
          <p:cNvSpPr>
            <a:spLocks noGrp="1"/>
          </p:cNvSpPr>
          <p:nvPr>
            <p:ph type="pic" sz="half" idx="21"/>
          </p:nvPr>
        </p:nvSpPr>
        <p:spPr>
          <a:xfrm>
            <a:off x="1865062" y="2654668"/>
            <a:ext cx="8252486" cy="517433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9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 2 объект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6256338" y="2298700"/>
            <a:ext cx="10001250" cy="6189663"/>
          </a:xfrm>
        </p:spPr>
        <p:txBody>
          <a:bodyPr tIns="108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/>
          </p:nvPr>
        </p:nvSpPr>
        <p:spPr>
          <a:xfrm>
            <a:off x="1081089" y="2298700"/>
            <a:ext cx="4814886" cy="6189663"/>
          </a:xfrm>
        </p:spPr>
        <p:txBody>
          <a:bodyPr tIns="10800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иналь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Спасибо за внимание!"/>
          <p:cNvSpPr txBox="1">
            <a:spLocks noGrp="1"/>
          </p:cNvSpPr>
          <p:nvPr>
            <p:ph type="title" hasCustomPrompt="1"/>
          </p:nvPr>
        </p:nvSpPr>
        <p:spPr>
          <a:xfrm>
            <a:off x="2412222" y="2922655"/>
            <a:ext cx="12514235" cy="2918745"/>
          </a:xfrm>
          <a:prstGeom prst="rect">
            <a:avLst/>
          </a:prstGeom>
        </p:spPr>
        <p:txBody>
          <a:bodyPr anchor="b"/>
          <a:lstStyle>
            <a:lvl1pPr>
              <a:defRPr sz="6601" b="0">
                <a:solidFill>
                  <a:srgbClr val="FFFFFF"/>
                </a:solidFill>
              </a:defRPr>
            </a:lvl1pPr>
          </a:lstStyle>
          <a:p>
            <a:r>
              <a:t>Спасибо за внимание!</a:t>
            </a:r>
          </a:p>
        </p:txBody>
      </p:sp>
      <p:pic>
        <p:nvPicPr>
          <p:cNvPr id="312" name="Рисунок 1" descr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2221" y="1726854"/>
            <a:ext cx="2737492" cy="595438"/>
          </a:xfrm>
          <a:prstGeom prst="rect">
            <a:avLst/>
          </a:prstGeom>
          <a:ln w="12700">
            <a:miter lim="400000"/>
          </a:ln>
        </p:spPr>
      </p:pic>
      <p:sp>
        <p:nvSpPr>
          <p:cNvPr id="3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412223" y="6409355"/>
            <a:ext cx="12514235" cy="9069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 marL="0" indent="0">
              <a:buSzTx/>
              <a:buNone/>
              <a:defRPr>
                <a:solidFill>
                  <a:srgbClr val="FFFFFF"/>
                </a:solidFill>
              </a:defRPr>
            </a:lvl3pPr>
            <a:lvl4pPr marL="0" indent="0">
              <a:buSzTx/>
              <a:buNone/>
              <a:defRPr>
                <a:solidFill>
                  <a:srgbClr val="FFFFFF"/>
                </a:solidFill>
              </a:defRPr>
            </a:lvl4pPr>
            <a:lvl5pPr marL="727899" indent="-187845">
              <a:defRPr>
                <a:solidFill>
                  <a:srgbClr val="FFFFFF"/>
                </a:solidFill>
              </a:defRPr>
            </a:lvl5pPr>
          </a:lstStyle>
          <a:p>
            <a:r>
              <a:t>Имя и фамилия спикера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14" name="Рисунок 14"/>
          <p:cNvSpPr>
            <a:spLocks noGrp="1"/>
          </p:cNvSpPr>
          <p:nvPr>
            <p:ph type="pic" sz="quarter" idx="21"/>
          </p:nvPr>
        </p:nvSpPr>
        <p:spPr>
          <a:xfrm>
            <a:off x="2412221" y="7384398"/>
            <a:ext cx="606587" cy="464223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15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3340665" y="7325930"/>
            <a:ext cx="11585792" cy="1208471"/>
          </a:xfrm>
          <a:prstGeom prst="rect">
            <a:avLst/>
          </a:prstGeom>
        </p:spPr>
        <p:txBody>
          <a:bodyPr>
            <a:normAutofit/>
          </a:bodyPr>
          <a:lstStyle>
            <a:lvl1pPr defTabSz="1828529">
              <a:spcBef>
                <a:spcPts val="1600"/>
              </a:spcBef>
              <a:defRPr>
                <a:solidFill>
                  <a:srgbClr val="FFFFFF"/>
                </a:solidFill>
              </a:defRPr>
            </a:lvl1pPr>
          </a:lstStyle>
          <a:p>
            <a:r>
              <a:t>Почта@ozon.ru</a:t>
            </a:r>
          </a:p>
        </p:txBody>
      </p:sp>
      <p:sp>
        <p:nvSpPr>
          <p:cNvPr id="31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206905" y="8823229"/>
            <a:ext cx="218008" cy="21544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24" name="Рисунок 15"/>
          <p:cNvSpPr>
            <a:spLocks noGrp="1"/>
          </p:cNvSpPr>
          <p:nvPr>
            <p:ph type="pic" sz="quarter" idx="21"/>
          </p:nvPr>
        </p:nvSpPr>
        <p:spPr>
          <a:xfrm>
            <a:off x="1081186" y="2309098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5" name="Рисунок 15"/>
          <p:cNvSpPr>
            <a:spLocks noGrp="1"/>
          </p:cNvSpPr>
          <p:nvPr>
            <p:ph type="pic" sz="quarter" idx="22"/>
          </p:nvPr>
        </p:nvSpPr>
        <p:spPr>
          <a:xfrm>
            <a:off x="3664285" y="2309098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6" name="Рисунок 15"/>
          <p:cNvSpPr>
            <a:spLocks noGrp="1"/>
          </p:cNvSpPr>
          <p:nvPr>
            <p:ph type="pic" sz="quarter" idx="23"/>
          </p:nvPr>
        </p:nvSpPr>
        <p:spPr>
          <a:xfrm>
            <a:off x="6266476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7" name="Рисунок 15"/>
          <p:cNvSpPr>
            <a:spLocks noGrp="1"/>
          </p:cNvSpPr>
          <p:nvPr>
            <p:ph type="pic" sz="quarter" idx="24"/>
          </p:nvPr>
        </p:nvSpPr>
        <p:spPr>
          <a:xfrm>
            <a:off x="8868484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8" name="Рисунок 15"/>
          <p:cNvSpPr>
            <a:spLocks noGrp="1"/>
          </p:cNvSpPr>
          <p:nvPr>
            <p:ph type="pic" sz="quarter" idx="25"/>
          </p:nvPr>
        </p:nvSpPr>
        <p:spPr>
          <a:xfrm>
            <a:off x="11449995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9" name="Рисунок 15"/>
          <p:cNvSpPr>
            <a:spLocks noGrp="1"/>
          </p:cNvSpPr>
          <p:nvPr>
            <p:ph type="pic" sz="quarter" idx="26"/>
          </p:nvPr>
        </p:nvSpPr>
        <p:spPr>
          <a:xfrm>
            <a:off x="14045795" y="2309098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31" name="Рисунок 15"/>
          <p:cNvSpPr>
            <a:spLocks noGrp="1"/>
          </p:cNvSpPr>
          <p:nvPr>
            <p:ph type="pic" sz="quarter" idx="27"/>
          </p:nvPr>
        </p:nvSpPr>
        <p:spPr>
          <a:xfrm>
            <a:off x="1081186" y="4040116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2" name="Рисунок 15"/>
          <p:cNvSpPr>
            <a:spLocks noGrp="1"/>
          </p:cNvSpPr>
          <p:nvPr>
            <p:ph type="pic" sz="quarter" idx="28"/>
          </p:nvPr>
        </p:nvSpPr>
        <p:spPr>
          <a:xfrm>
            <a:off x="3664285" y="4040116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3" name="Рисунок 15"/>
          <p:cNvSpPr>
            <a:spLocks noGrp="1"/>
          </p:cNvSpPr>
          <p:nvPr>
            <p:ph type="pic" sz="quarter" idx="29"/>
          </p:nvPr>
        </p:nvSpPr>
        <p:spPr>
          <a:xfrm>
            <a:off x="6266476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4" name="Рисунок 15"/>
          <p:cNvSpPr>
            <a:spLocks noGrp="1"/>
          </p:cNvSpPr>
          <p:nvPr>
            <p:ph type="pic" sz="quarter" idx="30"/>
          </p:nvPr>
        </p:nvSpPr>
        <p:spPr>
          <a:xfrm>
            <a:off x="8868484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5" name="Рисунок 15"/>
          <p:cNvSpPr>
            <a:spLocks noGrp="1"/>
          </p:cNvSpPr>
          <p:nvPr>
            <p:ph type="pic" sz="quarter" idx="31"/>
          </p:nvPr>
        </p:nvSpPr>
        <p:spPr>
          <a:xfrm>
            <a:off x="11449995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6" name="Рисунок 15"/>
          <p:cNvSpPr>
            <a:spLocks noGrp="1"/>
          </p:cNvSpPr>
          <p:nvPr>
            <p:ph type="pic" sz="quarter" idx="32"/>
          </p:nvPr>
        </p:nvSpPr>
        <p:spPr>
          <a:xfrm>
            <a:off x="14045795" y="4040116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7" name="Рисунок 15"/>
          <p:cNvSpPr>
            <a:spLocks noGrp="1"/>
          </p:cNvSpPr>
          <p:nvPr>
            <p:ph type="pic" sz="quarter" idx="33"/>
          </p:nvPr>
        </p:nvSpPr>
        <p:spPr>
          <a:xfrm>
            <a:off x="1081186" y="5771135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8" name="Рисунок 15"/>
          <p:cNvSpPr>
            <a:spLocks noGrp="1"/>
          </p:cNvSpPr>
          <p:nvPr>
            <p:ph type="pic" sz="quarter" idx="34"/>
          </p:nvPr>
        </p:nvSpPr>
        <p:spPr>
          <a:xfrm>
            <a:off x="3664285" y="5771135"/>
            <a:ext cx="1296119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39" name="Рисунок 15"/>
          <p:cNvSpPr>
            <a:spLocks noGrp="1"/>
          </p:cNvSpPr>
          <p:nvPr>
            <p:ph type="pic" sz="quarter" idx="35"/>
          </p:nvPr>
        </p:nvSpPr>
        <p:spPr>
          <a:xfrm>
            <a:off x="6266476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0" name="Рисунок 15"/>
          <p:cNvSpPr>
            <a:spLocks noGrp="1"/>
          </p:cNvSpPr>
          <p:nvPr>
            <p:ph type="pic" sz="quarter" idx="36"/>
          </p:nvPr>
        </p:nvSpPr>
        <p:spPr>
          <a:xfrm>
            <a:off x="8868484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1" name="Рисунок 15"/>
          <p:cNvSpPr>
            <a:spLocks noGrp="1"/>
          </p:cNvSpPr>
          <p:nvPr>
            <p:ph type="pic" sz="quarter" idx="37"/>
          </p:nvPr>
        </p:nvSpPr>
        <p:spPr>
          <a:xfrm>
            <a:off x="11449995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2" name="Рисунок 15"/>
          <p:cNvSpPr>
            <a:spLocks noGrp="1"/>
          </p:cNvSpPr>
          <p:nvPr>
            <p:ph type="pic" sz="quarter" idx="38"/>
          </p:nvPr>
        </p:nvSpPr>
        <p:spPr>
          <a:xfrm>
            <a:off x="14045795" y="5771135"/>
            <a:ext cx="1296120" cy="991131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3" name="Рисунок 15"/>
          <p:cNvSpPr>
            <a:spLocks noGrp="1"/>
          </p:cNvSpPr>
          <p:nvPr>
            <p:ph type="pic" sz="quarter" idx="39"/>
          </p:nvPr>
        </p:nvSpPr>
        <p:spPr>
          <a:xfrm>
            <a:off x="1081186" y="7502154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4" name="Рисунок 15"/>
          <p:cNvSpPr>
            <a:spLocks noGrp="1"/>
          </p:cNvSpPr>
          <p:nvPr>
            <p:ph type="pic" sz="quarter" idx="40"/>
          </p:nvPr>
        </p:nvSpPr>
        <p:spPr>
          <a:xfrm>
            <a:off x="3664285" y="7502154"/>
            <a:ext cx="1296119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5" name="Рисунок 15"/>
          <p:cNvSpPr>
            <a:spLocks noGrp="1"/>
          </p:cNvSpPr>
          <p:nvPr>
            <p:ph type="pic" sz="quarter" idx="41"/>
          </p:nvPr>
        </p:nvSpPr>
        <p:spPr>
          <a:xfrm>
            <a:off x="6266476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6" name="Рисунок 15"/>
          <p:cNvSpPr>
            <a:spLocks noGrp="1"/>
          </p:cNvSpPr>
          <p:nvPr>
            <p:ph type="pic" sz="quarter" idx="42"/>
          </p:nvPr>
        </p:nvSpPr>
        <p:spPr>
          <a:xfrm>
            <a:off x="8868484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7" name="Рисунок 15"/>
          <p:cNvSpPr>
            <a:spLocks noGrp="1"/>
          </p:cNvSpPr>
          <p:nvPr>
            <p:ph type="pic" sz="quarter" idx="43"/>
          </p:nvPr>
        </p:nvSpPr>
        <p:spPr>
          <a:xfrm>
            <a:off x="11449995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8" name="Рисунок 15"/>
          <p:cNvSpPr>
            <a:spLocks noGrp="1"/>
          </p:cNvSpPr>
          <p:nvPr>
            <p:ph type="pic" sz="quarter" idx="44"/>
          </p:nvPr>
        </p:nvSpPr>
        <p:spPr>
          <a:xfrm>
            <a:off x="14045795" y="7502154"/>
            <a:ext cx="1296120" cy="99113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0" y="0"/>
            <a:ext cx="6256338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4814887" cy="1135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7553325" y="2298700"/>
            <a:ext cx="8704262" cy="6189663"/>
          </a:xfrm>
        </p:spPr>
        <p:txBody>
          <a:bodyPr tIns="10800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3878260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/>
          </p:nvPr>
        </p:nvSpPr>
        <p:spPr>
          <a:xfrm>
            <a:off x="1081087" y="2298700"/>
            <a:ext cx="4814887" cy="6189663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7556818" y="8982075"/>
            <a:ext cx="5159442" cy="322263"/>
          </a:xfrm>
        </p:spPr>
        <p:txBody>
          <a:bodyPr bIns="61200" anchor="b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5895974" y="0"/>
            <a:ext cx="11441113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3878261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3878260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7556818" y="8982075"/>
            <a:ext cx="5159442" cy="322263"/>
          </a:xfrm>
        </p:spPr>
        <p:txBody>
          <a:bodyPr bIns="61200" anchor="b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7553324" y="2298700"/>
            <a:ext cx="8704263" cy="6189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7"/>
          </p:nvPr>
        </p:nvSpPr>
        <p:spPr>
          <a:xfrm>
            <a:off x="1081088" y="2298700"/>
            <a:ext cx="3878262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bg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 userDrawn="1"/>
        </p:nvSpPr>
        <p:spPr>
          <a:xfrm>
            <a:off x="11439727" y="0"/>
            <a:ext cx="5895975" cy="9752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9" y="574676"/>
            <a:ext cx="9999662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9" y="8981463"/>
            <a:ext cx="9999662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0"/>
          </p:nvPr>
        </p:nvSpPr>
        <p:spPr>
          <a:xfrm>
            <a:off x="12377738" y="2298699"/>
            <a:ext cx="3879850" cy="6189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11"/>
          </p:nvPr>
        </p:nvSpPr>
        <p:spPr>
          <a:xfrm>
            <a:off x="1095004" y="2298699"/>
            <a:ext cx="9985746" cy="61896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bg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499" cy="11350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1081088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3663951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4" hasCustomPrompt="1"/>
          </p:nvPr>
        </p:nvSpPr>
        <p:spPr>
          <a:xfrm>
            <a:off x="1081087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0" name="Рисунок 15"/>
          <p:cNvSpPr>
            <a:spLocks noGrp="1"/>
          </p:cNvSpPr>
          <p:nvPr>
            <p:ph type="pic" sz="quarter" idx="15" hasCustomPrompt="1"/>
          </p:nvPr>
        </p:nvSpPr>
        <p:spPr>
          <a:xfrm>
            <a:off x="3663950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8"/>
          </p:nvPr>
        </p:nvSpPr>
        <p:spPr>
          <a:xfrm>
            <a:off x="6265904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19" hasCustomPrompt="1"/>
          </p:nvPr>
        </p:nvSpPr>
        <p:spPr>
          <a:xfrm>
            <a:off x="6265903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0"/>
          </p:nvPr>
        </p:nvSpPr>
        <p:spPr>
          <a:xfrm>
            <a:off x="8867672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Рисунок 15"/>
          <p:cNvSpPr>
            <a:spLocks noGrp="1"/>
          </p:cNvSpPr>
          <p:nvPr>
            <p:ph type="pic" sz="quarter" idx="21" hasCustomPrompt="1"/>
          </p:nvPr>
        </p:nvSpPr>
        <p:spPr>
          <a:xfrm>
            <a:off x="8867671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2"/>
          </p:nvPr>
        </p:nvSpPr>
        <p:spPr>
          <a:xfrm>
            <a:off x="11448947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Рисунок 15"/>
          <p:cNvSpPr>
            <a:spLocks noGrp="1"/>
          </p:cNvSpPr>
          <p:nvPr>
            <p:ph type="pic" sz="quarter" idx="23" hasCustomPrompt="1"/>
          </p:nvPr>
        </p:nvSpPr>
        <p:spPr>
          <a:xfrm>
            <a:off x="11448946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24"/>
          </p:nvPr>
        </p:nvSpPr>
        <p:spPr>
          <a:xfrm>
            <a:off x="14044510" y="5037363"/>
            <a:ext cx="2206800" cy="305911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14044509" y="3619880"/>
            <a:ext cx="1296000" cy="990000"/>
          </a:xfrm>
        </p:spPr>
        <p:txBody>
          <a:bodyPr/>
          <a:lstStyle/>
          <a:p>
            <a:r>
              <a:rPr lang="ru-RU" dirty="0"/>
              <a:t>Рисунок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C79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1088" y="574676"/>
            <a:ext cx="15176500" cy="1135062"/>
          </a:xfrm>
          <a:prstGeom prst="rect">
            <a:avLst/>
          </a:prstGeom>
        </p:spPr>
        <p:txBody>
          <a:bodyPr vert="horz" lIns="0" tIns="10800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298700"/>
            <a:ext cx="15176500" cy="6190984"/>
          </a:xfrm>
          <a:prstGeom prst="rect">
            <a:avLst/>
          </a:prstGeom>
        </p:spPr>
        <p:txBody>
          <a:bodyPr vert="horz" lIns="0" tIns="108000" rIns="0" bIns="0" rtlCol="0" anchor="t">
            <a:noAutofit/>
          </a:bodyPr>
          <a:lstStyle/>
          <a:p>
            <a:pPr lvl="0"/>
            <a:r>
              <a:rPr lang="en-US" dirty="0"/>
              <a:t>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081088" y="8981463"/>
            <a:ext cx="12580937" cy="323850"/>
          </a:xfrm>
          <a:prstGeom prst="rect">
            <a:avLst/>
          </a:prstGeom>
        </p:spPr>
        <p:txBody>
          <a:bodyPr lIns="0" tIns="0" rIns="0" bIns="61200" anchor="b"/>
          <a:lstStyle>
            <a:lvl1pPr>
              <a:lnSpc>
                <a:spcPct val="100000"/>
              </a:lnSpc>
              <a:defRPr sz="1400"/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49225" y="8970963"/>
            <a:ext cx="914400" cy="334350"/>
          </a:xfrm>
          <a:prstGeom prst="rect">
            <a:avLst/>
          </a:prstGeom>
          <a:noFill/>
          <a:ln w="25400">
            <a:noFill/>
          </a:ln>
        </p:spPr>
        <p:txBody>
          <a:bodyPr vert="horz" lIns="36000" tIns="0" rIns="36000" bIns="54000" rtlCol="0" anchor="b"/>
          <a:lstStyle>
            <a:lvl1pPr algn="r">
              <a:lnSpc>
                <a:spcPct val="100000"/>
              </a:lnSpc>
              <a:defRPr sz="1400" b="1">
                <a:solidFill>
                  <a:schemeClr val="tx1"/>
                </a:solidFill>
              </a:defRPr>
            </a:lvl1pPr>
          </a:lstStyle>
          <a:p>
            <a:fld id="{B4CBCABD-A162-4C47-826F-E69D63ADF83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018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25" r:id="rId2"/>
    <p:sldLayoutId id="2147483937" r:id="rId3"/>
    <p:sldLayoutId id="2147483926" r:id="rId4"/>
    <p:sldLayoutId id="2147483939" r:id="rId5"/>
    <p:sldLayoutId id="2147483924" r:id="rId6"/>
    <p:sldLayoutId id="2147483938" r:id="rId7"/>
    <p:sldLayoutId id="2147483947" r:id="rId8"/>
    <p:sldLayoutId id="2147483950" r:id="rId9"/>
    <p:sldLayoutId id="2147483955" r:id="rId10"/>
    <p:sldLayoutId id="2147483943" r:id="rId11"/>
    <p:sldLayoutId id="2147483952" r:id="rId12"/>
    <p:sldLayoutId id="2147483944" r:id="rId13"/>
    <p:sldLayoutId id="2147483941" r:id="rId14"/>
    <p:sldLayoutId id="2147483954" r:id="rId15"/>
    <p:sldLayoutId id="2147483946" r:id="rId16"/>
    <p:sldLayoutId id="2147483953" r:id="rId17"/>
    <p:sldLayoutId id="2147483945" r:id="rId18"/>
    <p:sldLayoutId id="2147483942" r:id="rId19"/>
    <p:sldLayoutId id="2147483934" r:id="rId20"/>
    <p:sldLayoutId id="2147483956" r:id="rId21"/>
  </p:sldLayoutIdLst>
  <p:hf hdr="0" dt="0"/>
  <p:txStyles>
    <p:titleStyle>
      <a:lvl1pPr algn="l" defTabSz="1300277" rtl="0" eaLnBrk="1" latinLnBrk="0" hangingPunct="1">
        <a:lnSpc>
          <a:spcPct val="90000"/>
        </a:lnSpc>
        <a:spcBef>
          <a:spcPct val="0"/>
        </a:spcBef>
        <a:buNone/>
        <a:defRPr sz="4200" b="1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2"/>
        </a:buClr>
        <a:buSzPct val="100000"/>
        <a:buFontTx/>
        <a:buNone/>
        <a:defRPr sz="2400" b="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0" indent="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2"/>
        </a:buClr>
        <a:buSzPct val="100000"/>
        <a:buFontTx/>
        <a:buNone/>
        <a:defRPr sz="2400" b="1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540000" indent="-54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.AppleSystemUIFont" charset="-120"/>
        <a:buChar char="—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576000" indent="-54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+mj-lt"/>
        <a:buAutoNum type="arabicPeriod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900000" indent="-360000" algn="l" defTabSz="1300277" rtl="0" eaLnBrk="1" latinLnBrk="0" hangingPunct="1">
        <a:lnSpc>
          <a:spcPct val="100000"/>
        </a:lnSpc>
        <a:spcBef>
          <a:spcPts val="700"/>
        </a:spcBef>
        <a:spcAft>
          <a:spcPts val="800"/>
        </a:spcAft>
        <a:buClr>
          <a:schemeClr val="tx1"/>
        </a:buClr>
        <a:buSzPct val="100000"/>
        <a:buFont typeface=".AppleSystemUIFont" charset="-120"/>
        <a:buChar char="–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0" indent="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Tx/>
        <a:buNone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540000" indent="-54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.AppleSystemUIFont" charset="-120"/>
        <a:buChar char="—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576000" indent="-54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+mj-lt"/>
        <a:buAutoNum type="arabicPeriod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900000" indent="-360000" algn="l" defTabSz="1300277" rtl="0" eaLnBrk="1" latinLnBrk="0" hangingPunct="1">
        <a:lnSpc>
          <a:spcPts val="216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.AppleSystemUIFont" charset="-120"/>
        <a:buChar char="–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138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27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415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554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0692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083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0969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10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2">
          <p15:clr>
            <a:srgbClr val="F26B43"/>
          </p15:clr>
        </p15:guide>
        <p15:guide id="2" pos="10241">
          <p15:clr>
            <a:srgbClr val="F26B43"/>
          </p15:clr>
        </p15:guide>
        <p15:guide id="3" pos="681">
          <p15:clr>
            <a:srgbClr val="F26B43"/>
          </p15:clr>
        </p15:guide>
        <p15:guide id="4" orient="horz" pos="5347">
          <p15:clr>
            <a:srgbClr val="F26B43"/>
          </p15:clr>
        </p15:guide>
        <p15:guide id="5" orient="horz" pos="5651">
          <p15:clr>
            <a:srgbClr val="F26B43"/>
          </p15:clr>
        </p15:guide>
        <p15:guide id="8" pos="5461">
          <p15:clr>
            <a:srgbClr val="F26B43"/>
          </p15:clr>
        </p15:guide>
        <p15:guide id="9" pos="2059">
          <p15:clr>
            <a:srgbClr val="F26B43"/>
          </p15:clr>
        </p15:guide>
        <p15:guide id="10" pos="1269">
          <p15:clr>
            <a:srgbClr val="F26B43"/>
          </p15:clr>
        </p15:guide>
        <p15:guide id="11" pos="1498">
          <p15:clr>
            <a:srgbClr val="F26B43"/>
          </p15:clr>
        </p15:guide>
        <p15:guide id="12" pos="2308">
          <p15:clr>
            <a:srgbClr val="F26B43"/>
          </p15:clr>
        </p15:guide>
        <p15:guide id="13" pos="2898">
          <p15:clr>
            <a:srgbClr val="F26B43"/>
          </p15:clr>
        </p15:guide>
        <p15:guide id="14" pos="3124">
          <p15:clr>
            <a:srgbClr val="F26B43"/>
          </p15:clr>
        </p15:guide>
        <p15:guide id="15" pos="3714">
          <p15:clr>
            <a:srgbClr val="F26B43"/>
          </p15:clr>
        </p15:guide>
        <p15:guide id="16" pos="3941">
          <p15:clr>
            <a:srgbClr val="F26B43"/>
          </p15:clr>
        </p15:guide>
        <p15:guide id="17" pos="4529">
          <p15:clr>
            <a:srgbClr val="F26B43"/>
          </p15:clr>
        </p15:guide>
        <p15:guide id="18" pos="4758">
          <p15:clr>
            <a:srgbClr val="F26B43"/>
          </p15:clr>
        </p15:guide>
        <p15:guide id="19" pos="5331">
          <p15:clr>
            <a:srgbClr val="F26B43"/>
          </p15:clr>
        </p15:guide>
        <p15:guide id="20" pos="5590">
          <p15:clr>
            <a:srgbClr val="F26B43"/>
          </p15:clr>
        </p15:guide>
        <p15:guide id="21" pos="9655">
          <p15:clr>
            <a:srgbClr val="F26B43"/>
          </p15:clr>
        </p15:guide>
        <p15:guide id="22" pos="9425">
          <p15:clr>
            <a:srgbClr val="F26B43"/>
          </p15:clr>
        </p15:guide>
        <p15:guide id="23" pos="8835">
          <p15:clr>
            <a:srgbClr val="F26B43"/>
          </p15:clr>
        </p15:guide>
        <p15:guide id="24" pos="8606">
          <p15:clr>
            <a:srgbClr val="F26B43"/>
          </p15:clr>
        </p15:guide>
        <p15:guide id="25" pos="8023">
          <p15:clr>
            <a:srgbClr val="F26B43"/>
          </p15:clr>
        </p15:guide>
        <p15:guide id="26" pos="7797">
          <p15:clr>
            <a:srgbClr val="F26B43"/>
          </p15:clr>
        </p15:guide>
        <p15:guide id="27" pos="7207">
          <p15:clr>
            <a:srgbClr val="F26B43"/>
          </p15:clr>
        </p15:guide>
        <p15:guide id="28" pos="6980">
          <p15:clr>
            <a:srgbClr val="F26B43"/>
          </p15:clr>
        </p15:guide>
        <p15:guide id="29" pos="6389">
          <p15:clr>
            <a:srgbClr val="F26B43"/>
          </p15:clr>
        </p15:guide>
        <p15:guide id="30" pos="6163">
          <p15:clr>
            <a:srgbClr val="F26B43"/>
          </p15:clr>
        </p15:guide>
        <p15:guide id="32" orient="horz" pos="1077">
          <p15:clr>
            <a:srgbClr val="F26B43"/>
          </p15:clr>
        </p15:guide>
        <p15:guide id="34" orient="horz" pos="1448">
          <p15:clr>
            <a:srgbClr val="F26B43"/>
          </p15:clr>
        </p15:guide>
        <p15:guide id="35" orient="horz" pos="5861">
          <p15:clr>
            <a:srgbClr val="F26B43"/>
          </p15:clr>
        </p15:guide>
        <p15:guide id="36" pos="101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C79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81186" y="575332"/>
            <a:ext cx="15177890" cy="11363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6047107" y="9100486"/>
            <a:ext cx="218008" cy="215444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>
              <a:defRPr sz="1400" b="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66855" y="2275469"/>
            <a:ext cx="15603379" cy="74765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</p:sldLayoutIdLst>
  <p:transition spd="med"/>
  <p:txStyles>
    <p:titleStyle>
      <a:lvl1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130040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540053" marR="0" indent="-540053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—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576058" marR="0" indent="-540053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AutoNum type="arabicPeriod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900090" marR="0" indent="-360036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720071" marR="0" indent="-720071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—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756075" marR="0" indent="-720071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AutoNum type="arabicPeriod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1020101" marR="0" indent="-480047" algn="l" defTabSz="1300407" rtl="0" latinLnBrk="0">
        <a:lnSpc>
          <a:spcPct val="100000"/>
        </a:lnSpc>
        <a:spcBef>
          <a:spcPts val="800"/>
        </a:spcBef>
        <a:spcAft>
          <a:spcPts val="0"/>
        </a:spcAft>
        <a:buClrTx/>
        <a:buSzPct val="100000"/>
        <a:buFontTx/>
        <a:buChar char="–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50202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300407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5061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600814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3251017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3901220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4551424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5201626" algn="r" defTabSz="130040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9.png"/><Relationship Id="rId4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.ai/intelligence/insights-generator?app_group_id=L42Y3LGF3VH27LPJONYX4XSQF4EMRTRX4ZHXZYDIYHQ7XP3UE7FQ====&amp;facets=!(est_relative_rank_average_active_users__aggr,est_relative_rank_average_time_per_user__aggr)&amp;app_group_breakdowns=(genre_id:!n,modifier_id:!n,product_id:!n,product_id.genre_id:!n,product_id.modifier_id:!n,unified_product_id:())&amp;order_by=!((name:est_relative_rank_average_time_per_user__aggr,order:desc))&amp;country_code=RU&amp;device_code=all-phone&amp;date=!(%272022-09-01%27,%272022-09-30%27)&amp;insights_generator.default_tab=app_group_id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AF9948DF-0E44-F7CA-9315-88DACC79B14B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7064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ОКОННЫЕ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1B5333DE-70B9-2EDE-03F2-85D43CC0DCAB}"/>
              </a:ext>
            </a:extLst>
          </p:cNvPr>
          <p:cNvSpPr txBox="1">
            <a:spLocks/>
          </p:cNvSpPr>
          <p:nvPr/>
        </p:nvSpPr>
        <p:spPr>
          <a:xfrm>
            <a:off x="11663757" y="5720511"/>
            <a:ext cx="4090897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  <a:latin typeface="Montserrat Light" pitchFamily="2" charset="77"/>
              </a:rPr>
              <a:t>функции</a:t>
            </a:r>
            <a:endParaRPr lang="en-RU" sz="6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876D357F-CEE2-1F69-0012-E3EEA5CC1382}"/>
              </a:ext>
            </a:extLst>
          </p:cNvPr>
          <p:cNvSpPr txBox="1">
            <a:spLocks/>
          </p:cNvSpPr>
          <p:nvPr/>
        </p:nvSpPr>
        <p:spPr>
          <a:xfrm>
            <a:off x="588306" y="8594380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Екатерина Пан</a:t>
            </a: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F050540B-AE30-B8E0-077E-B37376B575C0}"/>
              </a:ext>
            </a:extLst>
          </p:cNvPr>
          <p:cNvSpPr txBox="1">
            <a:spLocks/>
          </p:cNvSpPr>
          <p:nvPr/>
        </p:nvSpPr>
        <p:spPr>
          <a:xfrm>
            <a:off x="588306" y="8919712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Руководитель отдела клиентской аналитики, </a:t>
            </a:r>
            <a:r>
              <a:rPr lang="ru-RU" sz="1991" dirty="0" err="1">
                <a:solidFill>
                  <a:schemeClr val="bg1"/>
                </a:solidFill>
                <a:latin typeface="Montserrat Light" pitchFamily="2" charset="77"/>
              </a:rPr>
              <a:t>СберМаркет</a:t>
            </a:r>
            <a:endParaRPr lang="ru-RU" sz="199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224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СИНТАКСИС</a:t>
            </a:r>
            <a:b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</a:b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sz="1600" dirty="0">
                <a:solidFill>
                  <a:schemeClr val="bg1"/>
                </a:solidFill>
                <a:latin typeface="Menlo" panose="020B0609030804020204" pitchFamily="49" charset="0"/>
              </a:rPr>
              <a:t>OVER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sz="1600" dirty="0">
                <a:solidFill>
                  <a:schemeClr val="bg1"/>
                </a:solidFill>
                <a:latin typeface="Menlo" panose="020B0609030804020204" pitchFamily="49" charset="0"/>
              </a:rPr>
              <a:t>PARTITION B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sz="1600" dirty="0">
                <a:solidFill>
                  <a:schemeClr val="bg1"/>
                </a:solidFill>
                <a:latin typeface="Menlo" panose="020B0609030804020204" pitchFamily="49" charset="0"/>
              </a:rPr>
              <a:t>ORDER B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sz="1600" dirty="0">
                <a:solidFill>
                  <a:schemeClr val="bg1"/>
                </a:solidFill>
                <a:latin typeface="Menlo" panose="020B0609030804020204" pitchFamily="49" charset="0"/>
              </a:rPr>
              <a:t>ROWS </a:t>
            </a:r>
            <a:r>
              <a:rPr lang="ru-RU" sz="1600" dirty="0">
                <a:solidFill>
                  <a:schemeClr val="bg1"/>
                </a:solidFill>
                <a:latin typeface="Menlo" panose="020B0609030804020204" pitchFamily="49" charset="0"/>
              </a:rPr>
              <a:t>или </a:t>
            </a:r>
            <a:r>
              <a:rPr lang="en" sz="1600" dirty="0">
                <a:solidFill>
                  <a:schemeClr val="bg1"/>
                </a:solidFill>
                <a:latin typeface="Menlo" panose="020B0609030804020204" pitchFamily="49" charset="0"/>
              </a:rPr>
              <a:t>RANGE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09A244-6C1A-CAAB-B88A-E64F2A3EBC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8139" y="3517106"/>
            <a:ext cx="6604000" cy="1358900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397592"/>
      </p:ext>
    </p:extLst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OVER()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Мы использовали инструкцию 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OVER()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без предложений. В таком варианте окном будет весь набор данных и никакая сортировка не применяется. </a:t>
            </a: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Появился новый столбец «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Sum»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и для каждой строки выводится одно и то же значение </a:t>
            </a:r>
            <a:r>
              <a:rPr lang="en-GB" sz="1800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это сумма всех значений строки профит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avg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21A16E-9177-45BD-67A4-DB75F227A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837" y="1822243"/>
            <a:ext cx="8660379" cy="5419202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740060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PARTITION BY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Теперь применим инструкцию 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PARTITION BY,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которая определяет столбец, по которому будет производиться группировка и является ключевой в разделении набора строк на окна</a:t>
            </a: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Инструкция 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PARTITION BY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сгруппировала строки по полю «категория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».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Теперь для каждой группы рассчитывается своя сумма значений столбца «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profit».</a:t>
            </a: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partition by category) as sum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F48A9A-7B35-19B4-8557-D6EDB75DAC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9814" y="1892986"/>
            <a:ext cx="8613916" cy="5283735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776284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ORDER BY</a:t>
            </a:r>
          </a:p>
          <a:p>
            <a:pPr marL="0" indent="0">
              <a:buNone/>
            </a:pP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К предложению 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PARTITION BY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добавилось 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ORDER BY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по полю «дата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». </a:t>
            </a: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Таким образом мы указали, что хотим видеть сумму не всех значений в окне, а для каждого значения «</a:t>
            </a:r>
            <a:r>
              <a:rPr lang="en" sz="1800" dirty="0">
                <a:solidFill>
                  <a:schemeClr val="bg1"/>
                </a:solidFill>
                <a:latin typeface="Montserrat Light" pitchFamily="2" charset="77"/>
              </a:rPr>
              <a:t>profit» 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сумму со всеми предыдущими. 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То есть мы посчитали нарастающий итог по дням внутри каждой категории.</a:t>
            </a:r>
            <a:endParaRPr lang="en-GB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partition by category 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) as sum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30DEC1-E3B4-1E46-E1EA-CD313D9DDF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4356" y="1867586"/>
            <a:ext cx="8644831" cy="5334535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703470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3556A273-F7DF-BEA2-269F-2813A3B463E2}"/>
              </a:ext>
            </a:extLst>
          </p:cNvPr>
          <p:cNvSpPr/>
          <p:nvPr/>
        </p:nvSpPr>
        <p:spPr>
          <a:xfrm>
            <a:off x="8820090" y="-4142"/>
            <a:ext cx="1151429" cy="2518611"/>
          </a:xfrm>
          <a:prstGeom prst="rect">
            <a:avLst/>
          </a:prstGeom>
          <a:solidFill>
            <a:srgbClr val="5C79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D050211-DF05-D6A3-2F5C-836DCE4A3184}"/>
              </a:ext>
            </a:extLst>
          </p:cNvPr>
          <p:cNvSpPr txBox="1">
            <a:spLocks/>
          </p:cNvSpPr>
          <p:nvPr/>
        </p:nvSpPr>
        <p:spPr>
          <a:xfrm>
            <a:off x="11990641" y="234792"/>
            <a:ext cx="249105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разница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E25F8AA-A2EB-865B-0853-F6B4ED439035}"/>
              </a:ext>
            </a:extLst>
          </p:cNvPr>
          <p:cNvCxnSpPr>
            <a:cxnSpLocks/>
          </p:cNvCxnSpPr>
          <p:nvPr/>
        </p:nvCxnSpPr>
        <p:spPr>
          <a:xfrm>
            <a:off x="8356117" y="-1645"/>
            <a:ext cx="0" cy="9752013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0766D345-C056-4F08-B769-BE1A1BB82FB5}"/>
              </a:ext>
            </a:extLst>
          </p:cNvPr>
          <p:cNvSpPr/>
          <p:nvPr/>
        </p:nvSpPr>
        <p:spPr>
          <a:xfrm>
            <a:off x="7657335" y="-1"/>
            <a:ext cx="1151429" cy="2518611"/>
          </a:xfrm>
          <a:prstGeom prst="rect">
            <a:avLst/>
          </a:prstGeom>
          <a:solidFill>
            <a:srgbClr val="5C79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3640"/>
          </a:p>
        </p:txBody>
      </p:sp>
      <p:sp>
        <p:nvSpPr>
          <p:cNvPr id="27" name="Объект 1">
            <a:extLst>
              <a:ext uri="{FF2B5EF4-FFF2-40B4-BE49-F238E27FC236}">
                <a16:creationId xmlns:a16="http://schemas.microsoft.com/office/drawing/2014/main" id="{903E36E5-9AA8-2D00-68E3-C641ED366DFC}"/>
              </a:ext>
            </a:extLst>
          </p:cNvPr>
          <p:cNvSpPr txBox="1">
            <a:spLocks/>
          </p:cNvSpPr>
          <p:nvPr/>
        </p:nvSpPr>
        <p:spPr>
          <a:xfrm>
            <a:off x="489396" y="769824"/>
            <a:ext cx="15135615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ROWS vs RANGE</a:t>
            </a:r>
            <a:endParaRPr lang="ru-RU" sz="11376" b="1" spc="427" dirty="0">
              <a:solidFill>
                <a:schemeClr val="bg1"/>
              </a:solidFill>
              <a:latin typeface="Montserrat ExtraBold" pitchFamily="2" charset="77"/>
              <a:ea typeface="Noto Sans Miao" panose="020B0502040504020204" pitchFamily="34" charset="0"/>
              <a:cs typeface="Aharoni" panose="02010803020104030203" pitchFamily="2" charset="-79"/>
            </a:endParaRPr>
          </a:p>
        </p:txBody>
      </p:sp>
      <p:sp>
        <p:nvSpPr>
          <p:cNvPr id="46" name="Text Placeholder 1">
            <a:extLst>
              <a:ext uri="{FF2B5EF4-FFF2-40B4-BE49-F238E27FC236}">
                <a16:creationId xmlns:a16="http://schemas.microsoft.com/office/drawing/2014/main" id="{C9BF13FF-95EF-AD35-E26C-DEABE4C04899}"/>
              </a:ext>
            </a:extLst>
          </p:cNvPr>
          <p:cNvSpPr txBox="1">
            <a:spLocks/>
          </p:cNvSpPr>
          <p:nvPr/>
        </p:nvSpPr>
        <p:spPr>
          <a:xfrm>
            <a:off x="489396" y="2727222"/>
            <a:ext cx="6644033" cy="4743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fontAlgn="base">
              <a:buNone/>
            </a:pPr>
            <a:r>
              <a:rPr lang="en-GB" sz="1706" b="1" dirty="0">
                <a:solidFill>
                  <a:schemeClr val="bg1"/>
                </a:solidFill>
                <a:latin typeface="Montserrat Light" pitchFamily="2" charset="77"/>
              </a:rPr>
              <a:t>ROWS</a:t>
            </a:r>
            <a:br>
              <a:rPr lang="en-GB" sz="1706" b="1" dirty="0">
                <a:solidFill>
                  <a:schemeClr val="bg1"/>
                </a:solidFill>
                <a:latin typeface="Montserrat Light" pitchFamily="2" charset="77"/>
              </a:rPr>
            </a:br>
            <a:br>
              <a:rPr lang="en-GB" sz="1706" b="1" dirty="0">
                <a:solidFill>
                  <a:schemeClr val="bg1"/>
                </a:solidFill>
                <a:latin typeface="Montserrat Light" pitchFamily="2" charset="77"/>
              </a:rPr>
            </a:b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граничивается строкой</a:t>
            </a:r>
            <a:endParaRPr lang="en-GB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 algn="l" fontAlgn="base">
              <a:buNone/>
            </a:pP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ROWS 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сегда оперирует конкретной строкой, даже если сортировка не уникальна</a:t>
            </a:r>
            <a:endParaRPr lang="en-GB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 algn="l" fontAlgn="base">
              <a:buNone/>
            </a:pPr>
            <a:b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</a:b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редложение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ROWS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ожет быть задано с помощью методов: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CURRENT ROW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тображение текущей строки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UNBOUNDED FOLLOW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се записи после текущей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UNBOUNDED PRECED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се предыдущие записи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&lt;целое число&gt;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PRECED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заданное число предыдущих строк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&lt;целое число&gt;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FOLLOW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заданное число последующих записей.</a:t>
            </a:r>
          </a:p>
          <a:p>
            <a:pPr marL="0" indent="0" algn="r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D510F0E3-D84B-170D-4138-3A9BF9D83E7F}"/>
              </a:ext>
            </a:extLst>
          </p:cNvPr>
          <p:cNvSpPr txBox="1">
            <a:spLocks/>
          </p:cNvSpPr>
          <p:nvPr/>
        </p:nvSpPr>
        <p:spPr>
          <a:xfrm>
            <a:off x="9368597" y="2727222"/>
            <a:ext cx="7479090" cy="47431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fontAlgn="base">
              <a:buNone/>
            </a:pPr>
            <a:r>
              <a:rPr lang="en-GB" sz="1706" b="1" dirty="0">
                <a:solidFill>
                  <a:schemeClr val="bg1"/>
                </a:solidFill>
                <a:latin typeface="Montserrat Light" pitchFamily="2" charset="77"/>
              </a:rPr>
              <a:t>RANGE</a:t>
            </a:r>
          </a:p>
          <a:p>
            <a:pPr marL="0" indent="0" algn="l" fontAlgn="base">
              <a:buNone/>
            </a:pPr>
            <a:b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</a:b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Захватывает весь диапазон совпадающих значений, которые указаны в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ORDER BY</a:t>
            </a:r>
          </a:p>
          <a:p>
            <a:pPr marL="0" indent="0" algn="l" fontAlgn="base">
              <a:buNone/>
            </a:pP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RANGE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ак раз объединяет в диапазоны периоды, с совпадающими значениями полей сортировки (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ORDER BY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)</a:t>
            </a:r>
          </a:p>
          <a:p>
            <a:pPr marL="0" indent="0" algn="l" fontAlgn="base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algn="l" fontAlgn="base"/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редложение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RANGE 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ожет использоваться только с опциями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CURRENT ROW, UNBOUNDED PRECEDING 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и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UNBOUNDED FOLLOWING.</a:t>
            </a:r>
          </a:p>
          <a:p>
            <a:pPr algn="l" fontAlgn="base"/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редложение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RANGE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ожет использовать опции: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CURRENT ROW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тображение текущей строки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UNBOUNDED FOLLOW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се записи после текущей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UNBOUNDED PRECED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се предыдущие записи.</a:t>
            </a:r>
          </a:p>
          <a:p>
            <a:pPr algn="l" fontAlgn="base"/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И не может: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&lt;целое число&gt;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PRECED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заданное число предыдущих строк;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&lt;целое число&gt; 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FOLLOWING 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заданное число последующих записей.</a:t>
            </a:r>
            <a:b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</a:b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12957482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ROWS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РИМЕР</a:t>
            </a: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rows between 1 preceding and current row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um_previous_and_curren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rows between current row and 1 following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um_next_and_current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3904CE-9DE0-AEC9-5DF7-B3B2F7825E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1439" y="1743599"/>
            <a:ext cx="8890666" cy="5582511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110191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RANGE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РИМЕР</a:t>
            </a: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редложение </a:t>
            </a:r>
            <a:r>
              <a:rPr lang="en-GB" sz="1800" b="1" dirty="0">
                <a:solidFill>
                  <a:schemeClr val="bg1"/>
                </a:solidFill>
                <a:latin typeface="Montserrat Light" pitchFamily="2" charset="77"/>
              </a:rPr>
              <a:t>Range 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настроено на текущую строку. Но, как мы помним, для </a:t>
            </a:r>
            <a:r>
              <a:rPr lang="en-GB" sz="1800" b="1" dirty="0">
                <a:solidFill>
                  <a:schemeClr val="bg1"/>
                </a:solidFill>
                <a:latin typeface="Montserrat Light" pitchFamily="2" charset="77"/>
              </a:rPr>
              <a:t>Range 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текущая строка, это все строки, соответствующие одному значению сортировки. Сортировка в данном случае по полю </a:t>
            </a:r>
            <a:r>
              <a:rPr lang="en-GB" sz="1800" b="1" dirty="0" err="1">
                <a:solidFill>
                  <a:schemeClr val="bg1"/>
                </a:solidFill>
                <a:latin typeface="Montserrat Light" pitchFamily="2" charset="77"/>
              </a:rPr>
              <a:t>customer_id</a:t>
            </a:r>
            <a:r>
              <a:rPr lang="en-GB" sz="1800" b="1" dirty="0">
                <a:solidFill>
                  <a:schemeClr val="bg1"/>
                </a:solidFill>
                <a:latin typeface="Montserrat Light" pitchFamily="2" charset="77"/>
              </a:rPr>
              <a:t>. 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ервые 5 строк первого окна имеют одинаковое значение </a:t>
            </a:r>
            <a:r>
              <a:rPr lang="en-GB" sz="1800" b="1" dirty="0" err="1">
                <a:solidFill>
                  <a:schemeClr val="bg1"/>
                </a:solidFill>
                <a:latin typeface="Montserrat Light" pitchFamily="2" charset="77"/>
              </a:rPr>
              <a:t>customer_id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– следовательно они удовлетворяют ограничению </a:t>
            </a:r>
            <a:r>
              <a:rPr lang="en-GB" sz="1800" b="1" dirty="0">
                <a:solidFill>
                  <a:schemeClr val="bg1"/>
                </a:solidFill>
                <a:latin typeface="Montserrat Light" pitchFamily="2" charset="77"/>
              </a:rPr>
              <a:t>RANGE CURRENT ROW. 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оэтому </a:t>
            </a:r>
            <a:r>
              <a:rPr lang="en-GB" sz="1800" b="1" dirty="0">
                <a:solidFill>
                  <a:schemeClr val="bg1"/>
                </a:solidFill>
                <a:latin typeface="Montserrat Light" pitchFamily="2" charset="77"/>
              </a:rPr>
              <a:t>Sum 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для каждой из этих строк равна общей сумме </a:t>
            </a:r>
            <a:r>
              <a:rPr lang="en-GB" sz="1800" b="1" dirty="0">
                <a:solidFill>
                  <a:schemeClr val="bg1"/>
                </a:solidFill>
                <a:latin typeface="Montserrat Light" pitchFamily="2" charset="77"/>
              </a:rPr>
              <a:t>profit </a:t>
            </a: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о ним.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SUM(profit) over (partition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custom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RANGE CURRENT ROW) as sum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endParaRPr lang="en-US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EF0531-8D84-40FC-4FB7-78BF527908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8356" y="1821242"/>
            <a:ext cx="8689331" cy="5427223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242814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131039" y="1897653"/>
            <a:ext cx="7809361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АГРЕГАТНЫЕ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910873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COUNT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Количество значений поля без </a:t>
            </a:r>
            <a:r>
              <a:rPr lang="en-GB" sz="1706" dirty="0">
                <a:solidFill>
                  <a:schemeClr val="bg1"/>
                </a:solidFill>
                <a:latin typeface="Montserrat Light" pitchFamily="2" charset="77"/>
              </a:rPr>
              <a:t>NULL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, можно сочетать с </a:t>
            </a:r>
            <a:r>
              <a:rPr lang="en-GB" sz="1706" b="1" dirty="0">
                <a:solidFill>
                  <a:schemeClr val="bg1"/>
                </a:solidFill>
                <a:latin typeface="Montserrat Light" pitchFamily="2" charset="77"/>
              </a:rPr>
              <a:t>distinct</a:t>
            </a:r>
            <a:endParaRPr lang="ru-RU" sz="1706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483688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4370051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SUM</a:t>
            </a:r>
            <a:endParaRPr lang="ru-RU" sz="2844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умма элементов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5BD3CE-D657-8832-2AA9-9A24E9C247A0}"/>
              </a:ext>
            </a:extLst>
          </p:cNvPr>
          <p:cNvCxnSpPr>
            <a:cxnSpLocks/>
          </p:cNvCxnSpPr>
          <p:nvPr/>
        </p:nvCxnSpPr>
        <p:spPr>
          <a:xfrm>
            <a:off x="8138942" y="4525295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EABC3E2-1F9F-1BD3-9D90-B30B7E6CF030}"/>
              </a:ext>
            </a:extLst>
          </p:cNvPr>
          <p:cNvSpPr txBox="1">
            <a:spLocks/>
          </p:cNvSpPr>
          <p:nvPr/>
        </p:nvSpPr>
        <p:spPr>
          <a:xfrm>
            <a:off x="7685164" y="5671389"/>
            <a:ext cx="3030016" cy="3201393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AVG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реднее значение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1836552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11409868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MIN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инимум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9194337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функции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5246334" y="452529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4827979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MAX</a:t>
            </a:r>
            <a:endParaRPr lang="ru-RU" sz="2400" i="1" dirty="0">
              <a:solidFill>
                <a:schemeClr val="bg1"/>
              </a:solidFill>
              <a:latin typeface="Montserrat Medium" pitchFamily="2" charset="77"/>
            </a:endParaRPr>
          </a:p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Максимум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4656669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АГГРЕГАТЫ</a:t>
            </a:r>
            <a:endParaRPr lang="en-GB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РИМЕР</a:t>
            </a: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 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, 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partition by category) as sum,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count(profit) over (partition by category) as count,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max(profit) over (partition by category) as max,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min(profit) over (partition by category) as min,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avg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(profit) over (partition by category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avg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ACD5B7-0C61-11BC-9372-03CD7499A6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7334" y="1885411"/>
            <a:ext cx="8658876" cy="5298886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378882"/>
      </p:ext>
    </p:extLst>
  </p:cSld>
  <p:clrMapOvr>
    <a:masterClrMapping/>
  </p:clrMapOvr>
  <p:transition spd="slow">
    <p:cover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2560320" y="1897653"/>
            <a:ext cx="10805155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РАНЖИРУЮЩИЕ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463913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579021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579552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484152" y="6931372"/>
            <a:ext cx="2764479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ROW_NUMBER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функция возвращает номер строки и используется для нумерации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8143968" y="579552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6940776" y="6936309"/>
            <a:ext cx="4321580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RANK</a:t>
            </a:r>
            <a:r>
              <a:rPr lang="en" sz="2400" dirty="0">
                <a:solidFill>
                  <a:srgbClr val="000000"/>
                </a:solidFill>
              </a:rPr>
              <a:t>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функция возвращает ранг каждой строки. В данном случае значения уже анализируются и, в случае нахождения одинаковых, возвращает одинаковый ранг с пропуском следующего значения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5326512" y="581071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13121642" y="6946557"/>
            <a:ext cx="4169772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DENSE_RANK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функция возвращает ранг каждой строки. Но в отличие от функции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RANK,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на для одинаковых значений возвращает ранг, не пропуская следующий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10139217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функции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62C2E0F-029C-8798-EB2E-6178AAA12232}"/>
              </a:ext>
            </a:extLst>
          </p:cNvPr>
          <p:cNvSpPr txBox="1">
            <a:spLocks/>
          </p:cNvSpPr>
          <p:nvPr/>
        </p:nvSpPr>
        <p:spPr>
          <a:xfrm>
            <a:off x="4368960" y="3826854"/>
            <a:ext cx="7467592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i="1" dirty="0">
                <a:solidFill>
                  <a:schemeClr val="bg1"/>
                </a:solidFill>
                <a:latin typeface="Montserrat Light" pitchFamily="2" charset="77"/>
              </a:rPr>
              <a:t>– это функции, которые ранжируют значение для каждой строки в окне. </a:t>
            </a:r>
          </a:p>
          <a:p>
            <a:pPr marL="0" indent="0">
              <a:buNone/>
            </a:pPr>
            <a:r>
              <a:rPr lang="ru-RU" sz="1400" i="1" dirty="0">
                <a:solidFill>
                  <a:schemeClr val="bg1"/>
                </a:solidFill>
                <a:latin typeface="Montserrat Light" pitchFamily="2" charset="77"/>
              </a:rPr>
              <a:t>Например, их можно использовать для того, чтобы присвоить порядковый номер строке или составить рейтинг</a:t>
            </a:r>
            <a:endParaRPr lang="en-RU" sz="1400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2928580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813766" y="1897653"/>
            <a:ext cx="656665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ПРИНЦИП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573991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некоторый выход на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N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трок вперед и/или назад с текущей строки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4772719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4033168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бор данных с этих строк</a:t>
            </a: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5BD3CE-D657-8832-2AA9-9A24E9C247A0}"/>
              </a:ext>
            </a:extLst>
          </p:cNvPr>
          <p:cNvCxnSpPr>
            <a:cxnSpLocks/>
          </p:cNvCxnSpPr>
          <p:nvPr/>
        </p:nvCxnSpPr>
        <p:spPr>
          <a:xfrm>
            <a:off x="8138943" y="4525295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EABC3E2-1F9F-1BD3-9D90-B30B7E6CF030}"/>
              </a:ext>
            </a:extLst>
          </p:cNvPr>
          <p:cNvSpPr txBox="1">
            <a:spLocks/>
          </p:cNvSpPr>
          <p:nvPr/>
        </p:nvSpPr>
        <p:spPr>
          <a:xfrm>
            <a:off x="7412451" y="5671389"/>
            <a:ext cx="3030016" cy="3201393"/>
          </a:xfrm>
          <a:prstGeom prst="rect">
            <a:avLst/>
          </a:prstGeom>
        </p:spPr>
        <p:txBody>
          <a:bodyPr lIns="12797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перации над собранными данными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1788429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11153199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запись в исходную строку</a:t>
            </a: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8392223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работы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5310503" y="4541338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4587350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повтор на следующей строке</a:t>
            </a: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483715223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РАНЖИРУЮЩИЕ</a:t>
            </a:r>
          </a:p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ФУНКЦИИ</a:t>
            </a:r>
            <a:endParaRPr lang="en-GB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РИМЕР</a:t>
            </a: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ROW_NUMBER() OVER(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 ASC) AS row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RANK() OVER(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 ASC) AS rank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DENSE_RANK () OVER(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 ASC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dense_rank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261136-5DA6-E191-3604-2948E1C75F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836" y="1859280"/>
            <a:ext cx="8611361" cy="5288280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791610"/>
      </p:ext>
    </p:extLst>
  </p:cSld>
  <p:clrMapOvr>
    <a:masterClrMapping/>
  </p:clrMapOvr>
  <p:transition spd="slow">
    <p:cove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813766" y="1897653"/>
            <a:ext cx="656665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ФУНКЦИИ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743321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LAG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бращается к данным из предыдущей строки окна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6228987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5489436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LEAD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обращается к данным из следующей строки окна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0433765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9798535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FIRST_VALUE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озвращает первое значение окна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8087424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смещения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5310503" y="4541338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4367218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i="1" dirty="0">
                <a:solidFill>
                  <a:schemeClr val="bg1"/>
                </a:solidFill>
                <a:latin typeface="Montserrat Medium" pitchFamily="2" charset="77"/>
              </a:rPr>
              <a:t>LAST_VALUE 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–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озвращает последнее значение окна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9421152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РАНЖИРУЮЩИЕ</a:t>
            </a:r>
          </a:p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ФУНКЦИИ</a:t>
            </a:r>
            <a:endParaRPr lang="en-GB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chemeClr val="bg1"/>
                </a:solidFill>
                <a:latin typeface="Montserrat Light" pitchFamily="2" charset="77"/>
              </a:rPr>
              <a:t>ПРИМЕР</a:t>
            </a: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 algn="just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  code, </a:t>
            </a:r>
          </a:p>
          <a:p>
            <a:pPr marL="0" indent="0" algn="just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LAG(code) OVER(ORDER BY code)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prev_cod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 </a:t>
            </a:r>
          </a:p>
          <a:p>
            <a:pPr marL="0" indent="0" algn="just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LEAD(code) OVER(ORDER BY code)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next_cod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 algn="just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printer </a:t>
            </a:r>
          </a:p>
          <a:p>
            <a:pPr marL="0" indent="0" algn="just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ORDER BY code DESC</a:t>
            </a:r>
            <a:endParaRPr lang="en-GB" sz="3600" b="0" i="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A729A9-D915-38AB-22DC-C434E15B39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0310"/>
          <a:stretch/>
        </p:blipFill>
        <p:spPr>
          <a:xfrm>
            <a:off x="8008837" y="2210972"/>
            <a:ext cx="8270481" cy="3895946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4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7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951517"/>
      </p:ext>
    </p:extLst>
  </p:cSld>
  <p:clrMapOvr>
    <a:masterClrMapping/>
  </p:clrMapOvr>
  <p:transition spd="slow">
    <p:cover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2698255" y="1897653"/>
            <a:ext cx="10613008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АНАЛИТИЧЕСКИЕ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743321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CUME_DIST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ычисляет интегральное распределение (относительное положение) значений в окне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6228987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4921798" y="5671389"/>
            <a:ext cx="2861300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PERCENT_RANK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ычисляет относительный ранг строки в окне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0433765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8874183" y="5681637"/>
            <a:ext cx="3392138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PERCENTILE_CONT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ычисляет </a:t>
            </a:r>
            <a:r>
              <a:rPr lang="ru-RU" sz="1706" dirty="0" err="1">
                <a:solidFill>
                  <a:schemeClr val="bg1"/>
                </a:solidFill>
                <a:latin typeface="Montserrat Light" pitchFamily="2" charset="77"/>
              </a:rPr>
              <a:t>процентиль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на основе постоянного распределения значения столбца. В качестве параметра принимает </a:t>
            </a:r>
            <a:r>
              <a:rPr lang="ru-RU" sz="1706" dirty="0" err="1">
                <a:solidFill>
                  <a:schemeClr val="bg1"/>
                </a:solidFill>
                <a:latin typeface="Montserrat Light" pitchFamily="2" charset="77"/>
              </a:rPr>
              <a:t>процентиль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, который необходимо вычислить (можно посчитать медиану благодаря этой функции);</a:t>
            </a: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10395905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>
                <a:solidFill>
                  <a:schemeClr val="bg1"/>
                </a:solidFill>
                <a:latin typeface="Montserrat Light" pitchFamily="2" charset="77"/>
              </a:rPr>
              <a:t>функции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5310503" y="4541338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3488807" y="5661140"/>
            <a:ext cx="3392131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2400" i="1" dirty="0">
                <a:solidFill>
                  <a:schemeClr val="bg1"/>
                </a:solidFill>
                <a:latin typeface="Montserrat Medium" pitchFamily="2" charset="77"/>
              </a:rPr>
              <a:t>PERCENTILE_DISC </a:t>
            </a:r>
            <a:r>
              <a:rPr lang="en" sz="1706" dirty="0">
                <a:solidFill>
                  <a:schemeClr val="bg1"/>
                </a:solidFill>
                <a:latin typeface="Montserrat Light" pitchFamily="2" charset="77"/>
              </a:rPr>
              <a:t>— 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вычисляет определенный </a:t>
            </a:r>
            <a:r>
              <a:rPr lang="ru-RU" sz="1706" dirty="0" err="1">
                <a:solidFill>
                  <a:schemeClr val="bg1"/>
                </a:solidFill>
                <a:latin typeface="Montserrat Light" pitchFamily="2" charset="77"/>
              </a:rPr>
              <a:t>процентиль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 для отсортированных значений в наборе данных. В качестве параметра принимает </a:t>
            </a:r>
            <a:r>
              <a:rPr lang="ru-RU" sz="1706" dirty="0" err="1">
                <a:solidFill>
                  <a:schemeClr val="bg1"/>
                </a:solidFill>
                <a:latin typeface="Montserrat Light" pitchFamily="2" charset="77"/>
              </a:rPr>
              <a:t>процентиль</a:t>
            </a: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, который необходимо вычислить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8810645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ЗАДАНИ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BC99D-9305-E8C5-37D1-7532F348576F}"/>
              </a:ext>
            </a:extLst>
          </p:cNvPr>
          <p:cNvSpPr txBox="1"/>
          <p:nvPr/>
        </p:nvSpPr>
        <p:spPr>
          <a:xfrm>
            <a:off x="13590739" y="7652600"/>
            <a:ext cx="3585276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4000" dirty="0">
                <a:latin typeface=".Apple Color Emoji UI"/>
              </a:rPr>
              <a:t>🪄</a:t>
            </a:r>
          </a:p>
          <a:p>
            <a:endParaRPr lang="en-RU" sz="24000" dirty="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76D97CBF-521F-DB51-D640-6D6295B5B14C}"/>
              </a:ext>
            </a:extLst>
          </p:cNvPr>
          <p:cNvSpPr txBox="1">
            <a:spLocks/>
          </p:cNvSpPr>
          <p:nvPr/>
        </p:nvSpPr>
        <p:spPr>
          <a:xfrm>
            <a:off x="727702" y="5101623"/>
            <a:ext cx="10806572" cy="2109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Хочу для всех заказов с датами между </a:t>
            </a:r>
            <a:r>
              <a:rPr lang="en-GB" sz="2275" i="1" dirty="0">
                <a:solidFill>
                  <a:schemeClr val="bg1"/>
                </a:solidFill>
                <a:latin typeface="Montserrat" pitchFamily="2" charset="77"/>
              </a:rPr>
              <a:t>'2017-01-01’ 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и</a:t>
            </a:r>
            <a:r>
              <a:rPr lang="en-GB" sz="2275" i="1" dirty="0">
                <a:solidFill>
                  <a:schemeClr val="bg1"/>
                </a:solidFill>
                <a:latin typeface="Montserrat" pitchFamily="2" charset="77"/>
              </a:rPr>
              <a:t> '2017-01-30’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 достать категорию, </a:t>
            </a:r>
            <a:r>
              <a:rPr lang="en-GB" sz="2275" i="1" dirty="0">
                <a:solidFill>
                  <a:schemeClr val="bg1"/>
                </a:solidFill>
                <a:latin typeface="Montserrat" pitchFamily="2" charset="77"/>
              </a:rPr>
              <a:t>id_</a:t>
            </a: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заказа, прибыль и суммарную прибыль по всей категории</a:t>
            </a:r>
            <a:endParaRPr lang="en-GB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3866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7 -0.30734 -0.18735 -0.30002 C -0.13012 -0.28928 -0.10741 -0.21179 -0.05467 -0.28928 C -0.02152 -0.33518 0.01785 -0.4519 0.04651 -0.44864 C 0.11134 -0.44441 0.12499 -0.3246 0.12499 -0.21602 C 0.12654 -0.06023 0.04203 0.06967 -0.06071 0.08448 C -0.16482 0.0949 -0.25062 -0.07065 -0.2432 -0.18753 Z " pathEditMode="relative" rAng="0" ptsTypes="AAAAAAA" p14:bounceEnd="50000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7 -0.30734 -0.18735 -0.30002 C -0.13012 -0.28928 -0.10741 -0.21179 -0.05467 -0.28928 C -0.02152 -0.33518 0.01785 -0.4519 0.04651 -0.44864 C 0.11134 -0.44441 0.12499 -0.3246 0.12499 -0.21602 C 0.12654 -0.06023 0.04203 0.06967 -0.06071 0.08448 C -0.16482 0.0949 -0.25062 -0.07065 -0.2432 -0.18753 Z " pathEditMode="relative" rAng="0" ptsTypes="AAAAAAA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РЕШЕНИЕ</a:t>
            </a:r>
            <a:endParaRPr lang="en-GB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id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profit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profit_order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over (partition by category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profit_category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6C612F-D872-1963-7ED2-C2F0B92BEC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837" y="1819798"/>
            <a:ext cx="8616330" cy="5266802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687501"/>
      </p:ext>
    </p:extLst>
  </p:cSld>
  <p:clrMapOvr>
    <a:masterClrMapping/>
  </p:clrMapOvr>
  <p:transition spd="slow">
    <p:cover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ЗАДАНИ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ABC99D-9305-E8C5-37D1-7532F348576F}"/>
              </a:ext>
            </a:extLst>
          </p:cNvPr>
          <p:cNvSpPr txBox="1"/>
          <p:nvPr/>
        </p:nvSpPr>
        <p:spPr>
          <a:xfrm>
            <a:off x="13590739" y="7652600"/>
            <a:ext cx="3585276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4000" dirty="0">
                <a:latin typeface=".Apple Color Emoji UI"/>
              </a:rPr>
              <a:t>🪄</a:t>
            </a:r>
          </a:p>
          <a:p>
            <a:endParaRPr lang="en-RU" sz="24000" dirty="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76D97CBF-521F-DB51-D640-6D6295B5B14C}"/>
              </a:ext>
            </a:extLst>
          </p:cNvPr>
          <p:cNvSpPr txBox="1">
            <a:spLocks/>
          </p:cNvSpPr>
          <p:nvPr/>
        </p:nvSpPr>
        <p:spPr>
          <a:xfrm>
            <a:off x="727701" y="5101623"/>
            <a:ext cx="13100265" cy="444877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  <a:t>Что выведет запрос:</a:t>
            </a:r>
            <a:br>
              <a:rPr lang="ru-RU" sz="2275" i="1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*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DENSE_RANK () OVER(partition by category 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um_profi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ASC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dense_rank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(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um_profit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group by categor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)</a:t>
            </a:r>
          </a:p>
          <a:p>
            <a:pPr marL="0" indent="0">
              <a:buNone/>
            </a:pPr>
            <a:endParaRPr lang="en-GB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en-US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ru-RU" sz="2275" i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34695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7 -0.30734 -0.18735 -0.30002 C -0.13012 -0.28928 -0.10741 -0.21179 -0.05467 -0.28928 C -0.02152 -0.33518 0.01785 -0.4519 0.04651 -0.44864 C 0.11134 -0.44441 0.12499 -0.3246 0.12499 -0.21602 C 0.12654 -0.06023 0.04203 0.06967 -0.06071 0.08448 C -0.16482 0.0949 -0.25062 -0.07065 -0.2432 -0.18753 Z " pathEditMode="relative" rAng="0" ptsTypes="AAAAAAA" p14:bounceEnd="50000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path" presetSubtype="0" repeatCount="indefinite" accel="50000" fill="hold" nodeType="withEffect">
                                      <p:stCondLst>
                                        <p:cond delay="0"/>
                                      </p:stCondLst>
                                      <p:endCondLst>
                                        <p:cond evt="onNext" delay="0">
                                          <p:tgtEl>
                                            <p:sldTgt/>
                                          </p:tgtEl>
                                        </p:cond>
                                      </p:endCondLst>
                                      <p:childTnLst>
                                        <p:animMotion origin="layout" path="M -0.2432 -0.18753 C -0.24027 -0.19795 -0.22517 -0.30734 -0.18735 -0.30002 C -0.13012 -0.28928 -0.10741 -0.21179 -0.05467 -0.28928 C -0.02152 -0.33518 0.01785 -0.4519 0.04651 -0.44864 C 0.11134 -0.44441 0.12499 -0.3246 0.12499 -0.21602 C 0.12654 -0.06023 0.04203 0.06967 -0.06071 0.08448 C -0.16482 0.0949 -0.25062 -0.07065 -0.2432 -0.18753 Z " pathEditMode="relative" rAng="0" ptsTypes="AAAAAAA">
                                          <p:cBhvr>
                                            <p:cTn id="6" dur="3000" fill="hold"/>
                                            <p:tgtEl>
                                              <p:spTgt spid="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387" y="55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РЕШЕНИЕ</a:t>
            </a:r>
            <a:endParaRPr lang="en-GB" sz="4550" b="1" dirty="0">
              <a:solidFill>
                <a:schemeClr val="bg1"/>
              </a:solidFill>
              <a:latin typeface="Montserrat" pitchFamily="2" charset="77"/>
            </a:endParaRPr>
          </a:p>
          <a:p>
            <a:pPr marL="0" indent="0">
              <a:buNone/>
            </a:pPr>
            <a:endParaRPr lang="en-GB" sz="1800" b="1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*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DENSE_RANK () OVER( partition by category ORDER BY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um_profit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ASC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dense_rank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(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select categor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sum(profit) as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um_profit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from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where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 between '2017-01-01' and '2017-01-30'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group by category,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       </a:t>
            </a:r>
            <a:r>
              <a:rPr lang="en-GB" sz="1600" dirty="0" err="1">
                <a:solidFill>
                  <a:schemeClr val="bg1"/>
                </a:solidFill>
                <a:latin typeface="Menlo" panose="020B0609030804020204" pitchFamily="49" charset="0"/>
              </a:rPr>
              <a:t>order_date</a:t>
            </a:r>
            <a:endParaRPr lang="en-GB" sz="1600" dirty="0">
              <a:solidFill>
                <a:schemeClr val="bg1"/>
              </a:solidFill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latin typeface="Menlo" panose="020B0609030804020204" pitchFamily="49" charset="0"/>
              </a:rPr>
              <a:t>)</a:t>
            </a: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D9DFF9-FA56-163C-EB44-E6F7B46BED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837" y="1916976"/>
            <a:ext cx="8500338" cy="5235756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805074"/>
      </p:ext>
    </p:extLst>
  </p:cSld>
  <p:clrMapOvr>
    <a:masterClrMapping/>
  </p:clrMapOvr>
  <p:transition spd="slow">
    <p:cover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1">
            <a:extLst>
              <a:ext uri="{FF2B5EF4-FFF2-40B4-BE49-F238E27FC236}">
                <a16:creationId xmlns:a16="http://schemas.microsoft.com/office/drawing/2014/main" id="{7ABDB504-D97B-ABE5-55F9-0584390E806D}"/>
              </a:ext>
            </a:extLst>
          </p:cNvPr>
          <p:cNvSpPr txBox="1">
            <a:spLocks/>
          </p:cNvSpPr>
          <p:nvPr/>
        </p:nvSpPr>
        <p:spPr>
          <a:xfrm>
            <a:off x="588307" y="3712885"/>
            <a:ext cx="16587708" cy="23262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1376" b="1" spc="427" dirty="0">
                <a:solidFill>
                  <a:schemeClr val="bg1"/>
                </a:solidFill>
                <a:latin typeface="Montserrat ExtraBold" pitchFamily="2" charset="77"/>
                <a:ea typeface="Noto Sans Miao" panose="020B0502040504020204" pitchFamily="34" charset="0"/>
                <a:cs typeface="Aharoni" panose="02010803020104030203" pitchFamily="2" charset="-79"/>
              </a:rPr>
              <a:t>СПАСИБО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E1E09F-AD44-BA0B-208B-71F5E0DBA739}"/>
              </a:ext>
            </a:extLst>
          </p:cNvPr>
          <p:cNvSpPr txBox="1"/>
          <p:nvPr/>
        </p:nvSpPr>
        <p:spPr>
          <a:xfrm rot="10800000">
            <a:off x="13607933" y="6648673"/>
            <a:ext cx="3140849" cy="3374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21330" dirty="0"/>
              <a:t>🎩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EB8D7C-5050-A381-6D0B-55DE4F703C3D}"/>
              </a:ext>
            </a:extLst>
          </p:cNvPr>
          <p:cNvSpPr txBox="1"/>
          <p:nvPr/>
        </p:nvSpPr>
        <p:spPr>
          <a:xfrm>
            <a:off x="12540485" y="6804916"/>
            <a:ext cx="1717584" cy="20617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12798" dirty="0">
                <a:latin typeface=".Apple Color Emoji UI"/>
              </a:rPr>
              <a:t>🪄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AE8DDD-C351-733A-FA15-29FCE442F32D}"/>
              </a:ext>
            </a:extLst>
          </p:cNvPr>
          <p:cNvSpPr txBox="1">
            <a:spLocks/>
          </p:cNvSpPr>
          <p:nvPr/>
        </p:nvSpPr>
        <p:spPr>
          <a:xfrm>
            <a:off x="5150361" y="4992382"/>
            <a:ext cx="7940268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6257" b="1" i="1" dirty="0">
                <a:solidFill>
                  <a:schemeClr val="bg1"/>
                </a:solidFill>
                <a:latin typeface="Montserrat Light" pitchFamily="2" charset="77"/>
              </a:rPr>
              <a:t>что не </a:t>
            </a:r>
            <a:r>
              <a:rPr lang="ru-RU" sz="6257" b="1" i="1" dirty="0" err="1">
                <a:solidFill>
                  <a:schemeClr val="bg1"/>
                </a:solidFill>
                <a:latin typeface="Montserrat Light" pitchFamily="2" charset="77"/>
              </a:rPr>
              <a:t>чернулись</a:t>
            </a:r>
            <a:endParaRPr lang="en-RU" sz="6257" b="1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D6620382-8E2C-DB7D-1CE1-7CB620E8ADA8}"/>
              </a:ext>
            </a:extLst>
          </p:cNvPr>
          <p:cNvSpPr txBox="1">
            <a:spLocks/>
          </p:cNvSpPr>
          <p:nvPr/>
        </p:nvSpPr>
        <p:spPr>
          <a:xfrm>
            <a:off x="588306" y="8594380"/>
            <a:ext cx="9327233" cy="67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91" dirty="0">
                <a:solidFill>
                  <a:schemeClr val="bg1"/>
                </a:solidFill>
                <a:latin typeface="Montserrat Light" pitchFamily="2" charset="77"/>
              </a:rPr>
              <a:t>по всем вопросам:</a:t>
            </a:r>
          </a:p>
          <a:p>
            <a:pPr marL="0" indent="0">
              <a:buNone/>
            </a:pPr>
            <a:r>
              <a:rPr lang="en-GB" sz="1991" dirty="0" err="1">
                <a:solidFill>
                  <a:schemeClr val="bg1"/>
                </a:solidFill>
                <a:latin typeface="Montserrat Light" pitchFamily="2" charset="77"/>
              </a:rPr>
              <a:t>tg</a:t>
            </a:r>
            <a:r>
              <a:rPr lang="en-GB" sz="1991" dirty="0">
                <a:solidFill>
                  <a:schemeClr val="bg1"/>
                </a:solidFill>
                <a:latin typeface="Montserrat Light" pitchFamily="2" charset="77"/>
              </a:rPr>
              <a:t>: @pank8</a:t>
            </a:r>
            <a:endParaRPr lang="en-RU" sz="1991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823738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10027 -0.12763 C 0.16931 -0.12763 0.22526 -0.07147 0.22526 -0.00261 C 0.22526 0.06641 0.16931 0.12241 0.10027 0.12241 C 0.03123 0.12241 -0.02472 0.06641 -0.02472 -0.00261 C -0.02472 -0.07147 0.03123 -0.12763 0.10027 -0.12763 Z " pathEditMode="relative" rAng="0" ptsTypes="AAAAA">
                                      <p:cBhvr>
                                        <p:cTn id="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ПРИНЦИП РАБОТЫ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ПРИМЕР</a:t>
            </a: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Рисунок 7">
            <a:extLst>
              <a:ext uri="{FF2B5EF4-FFF2-40B4-BE49-F238E27FC236}">
                <a16:creationId xmlns:a16="http://schemas.microsoft.com/office/drawing/2014/main" id="{72F110B9-F71D-5703-1847-6E2CBCC42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2181" y="1780920"/>
            <a:ext cx="6540443" cy="5438895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057758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ПРИНЦИП РАБОТЫ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СРАВНЕНИЕ С ОБЫЧНОЙ ФУНКЦИЕЙ: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Для обычной функции (т.н. операции </a:t>
            </a:r>
            <a:r>
              <a:rPr lang="ru-RU" sz="1800" dirty="0" err="1">
                <a:solidFill>
                  <a:schemeClr val="bg1"/>
                </a:solidFill>
                <a:latin typeface="Montserrat Light" pitchFamily="2" charset="77"/>
              </a:rPr>
              <a:t>Map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), все строки обрабатываются независимо друг от друга.</a:t>
            </a: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А при использовании оконных функций, запрос делится на части (окна) и уже для каждой из отдельных частей считаются свои агрегаты.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8" name="Picture 7" descr="A computer with a blank screen&#10;&#10;Description automatically generated with low confidence">
            <a:hlinkClick r:id="rId2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pic>
        <p:nvPicPr>
          <p:cNvPr id="2" name="Picture 2" descr="Принцип работы оконной функции">
            <a:extLst>
              <a:ext uri="{FF2B5EF4-FFF2-40B4-BE49-F238E27FC236}">
                <a16:creationId xmlns:a16="http://schemas.microsoft.com/office/drawing/2014/main" id="{A54DF2A3-8076-09D7-0ADA-C27B6BDF8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1721" y="2277554"/>
            <a:ext cx="8096835" cy="4514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67006"/>
      </p:ext>
    </p:extLst>
  </p:cSld>
  <p:clrMapOvr>
    <a:masterClrMapping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ПРИНЦИП РАБОТЫ</a:t>
            </a:r>
          </a:p>
          <a:p>
            <a:pPr marL="0" indent="0">
              <a:buNone/>
            </a:pP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СРАВНЕНИЕ С АГРЕГАТНОЙ ФУНКЦИЕЙ:</a:t>
            </a: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В отличии от агрегатной функции, которая также работает с частью (окном) данных, результирующее количество строк оконной функции совпадает с кол-во строк на входе.</a:t>
            </a: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8" name="Picture 7" descr="A computer with a blank screen&#10;&#10;Description automatically generated with low confidence">
            <a:hlinkClick r:id="rId2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  <p:pic>
        <p:nvPicPr>
          <p:cNvPr id="5" name="Рисунок 6">
            <a:extLst>
              <a:ext uri="{FF2B5EF4-FFF2-40B4-BE49-F238E27FC236}">
                <a16:creationId xmlns:a16="http://schemas.microsoft.com/office/drawing/2014/main" id="{AFA30187-A932-C807-04A5-52D857B5A2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4696" y="2786422"/>
            <a:ext cx="8414504" cy="286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753669"/>
      </p:ext>
    </p:extLst>
  </p:cSld>
  <p:clrMapOvr>
    <a:masterClrMapping/>
  </p:clrMapOvr>
  <p:transition spd="slow">
    <p:cov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ПРИМЕР</a:t>
            </a: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В нашей таблице есть категория и сумма профита по ней</a:t>
            </a: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Хотим добавить столбец со средней суммой профита по каждой категории</a:t>
            </a: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profit 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wher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etwee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01'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n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30'</a:t>
            </a:r>
          </a:p>
          <a:p>
            <a:pPr marL="0" indent="0">
              <a:buNone/>
            </a:pP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E9DF2F-9175-DB3B-F23C-21C61D81D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836" y="1918447"/>
            <a:ext cx="8575869" cy="5414545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006216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РЕШЕНИЕ 1</a:t>
            </a:r>
            <a:b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ru-RU" sz="2275" dirty="0">
                <a:solidFill>
                  <a:schemeClr val="bg1"/>
                </a:solidFill>
                <a:latin typeface="Montserrat Light" pitchFamily="2" charset="77"/>
              </a:rPr>
              <a:t>НЕКРАСИВОЕ</a:t>
            </a: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Можно получить подзапросом с GROUP BY средний профит по каждой категории, потом </a:t>
            </a:r>
            <a:r>
              <a:rPr lang="ru-RU" sz="1800" dirty="0" err="1">
                <a:solidFill>
                  <a:schemeClr val="bg1"/>
                </a:solidFill>
                <a:latin typeface="Montserrat Light" pitchFamily="2" charset="77"/>
              </a:rPr>
              <a:t>приджоиниваем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 . </a:t>
            </a: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Этот вариант не оптимален как с точки зрения скорости работы, так со сложностью кода.</a:t>
            </a:r>
          </a:p>
          <a:p>
            <a:pPr marL="0" indent="0">
              <a:buNone/>
            </a:pPr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profit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b="1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vg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joi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(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     </a:t>
            </a:r>
            <a:r>
              <a:rPr lang="en-GB" sz="1600" b="1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v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(profit)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s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vg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wher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etwee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01'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n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30'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group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y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) a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usin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wher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etwee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01'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n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30'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C48CEA-2550-5298-6030-4095190129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837" y="1837467"/>
            <a:ext cx="8575869" cy="5394773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141141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9B6E13C-4DAF-204F-8536-5F23E155437E}"/>
              </a:ext>
            </a:extLst>
          </p:cNvPr>
          <p:cNvSpPr txBox="1">
            <a:spLocks/>
          </p:cNvSpPr>
          <p:nvPr/>
        </p:nvSpPr>
        <p:spPr>
          <a:xfrm>
            <a:off x="505851" y="1743598"/>
            <a:ext cx="6829225" cy="55825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  <a:t>РЕШЕНИЕ </a:t>
            </a:r>
            <a:r>
              <a:rPr lang="en-GB" sz="4550" b="1" dirty="0">
                <a:solidFill>
                  <a:schemeClr val="bg1"/>
                </a:solidFill>
                <a:latin typeface="Montserrat" pitchFamily="2" charset="77"/>
              </a:rPr>
              <a:t>2</a:t>
            </a:r>
            <a:br>
              <a:rPr lang="ru-RU" sz="4550" b="1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ru-RU" sz="2275" b="1" dirty="0">
                <a:solidFill>
                  <a:schemeClr val="bg1"/>
                </a:solidFill>
                <a:latin typeface="Montserrat Light" pitchFamily="2" charset="77"/>
              </a:rPr>
              <a:t>ОКОННАЯ ФУНКЦИЯ</a:t>
            </a: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Было бы гораздо удобнее, если в запросе мы могли бы использовать функцию, которая отработала бы как обычная в </a:t>
            </a:r>
            <a:r>
              <a:rPr lang="ru-RU" sz="1800" dirty="0" err="1">
                <a:solidFill>
                  <a:schemeClr val="bg1"/>
                </a:solidFill>
                <a:latin typeface="Montserrat Light" pitchFamily="2" charset="77"/>
              </a:rPr>
              <a:t>SELECT'е</a:t>
            </a:r>
            <a:r>
              <a:rPr lang="ru-RU" sz="1800" dirty="0">
                <a:solidFill>
                  <a:schemeClr val="bg1"/>
                </a:solidFill>
                <a:latin typeface="Montserrat Light" pitchFamily="2" charset="77"/>
              </a:rPr>
              <a:t>, но при этом посчитала бы среднее за целый блок данных. </a:t>
            </a: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elect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profit, 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       </a:t>
            </a:r>
            <a:r>
              <a:rPr lang="en-GB" sz="1600" b="1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vg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(profit)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ver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(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partitio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y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category)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s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vg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from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sandbox.orders_test_pan</a:t>
            </a:r>
            <a:endParaRPr lang="en-GB" sz="1600" dirty="0">
              <a:solidFill>
                <a:schemeClr val="bg1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wher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order_date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between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01' </a:t>
            </a:r>
            <a:r>
              <a:rPr lang="en-GB" sz="1600" b="1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and</a:t>
            </a:r>
            <a:r>
              <a:rPr lang="en-GB" sz="1600" dirty="0">
                <a:solidFill>
                  <a:schemeClr val="bg1"/>
                </a:solidFill>
                <a:effectLst/>
                <a:latin typeface="Menlo" panose="020B0609030804020204" pitchFamily="49" charset="0"/>
              </a:rPr>
              <a:t> '2017-01-30'</a:t>
            </a:r>
          </a:p>
          <a:p>
            <a:pPr marL="0" indent="0">
              <a:buNone/>
            </a:pPr>
            <a:endParaRPr lang="ru-RU" sz="1600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18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en-US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endParaRPr lang="ru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275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455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79C37-52E4-6903-F8FE-77E212780517}"/>
              </a:ext>
            </a:extLst>
          </p:cNvPr>
          <p:cNvSpPr/>
          <p:nvPr/>
        </p:nvSpPr>
        <p:spPr>
          <a:xfrm>
            <a:off x="8008837" y="1743598"/>
            <a:ext cx="8575870" cy="55825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2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7F9DD4-2924-4357-DEBF-7EA06943F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4880" y="1788376"/>
            <a:ext cx="8632118" cy="5453069"/>
          </a:xfrm>
          <a:prstGeom prst="rect">
            <a:avLst/>
          </a:prstGeom>
        </p:spPr>
      </p:pic>
      <p:pic>
        <p:nvPicPr>
          <p:cNvPr id="8" name="Picture 7" descr="A computer with a blank screen&#10;&#10;Description automatically generated with low confidence">
            <a:hlinkClick r:id="rId3"/>
            <a:extLst>
              <a:ext uri="{FF2B5EF4-FFF2-40B4-BE49-F238E27FC236}">
                <a16:creationId xmlns:a16="http://schemas.microsoft.com/office/drawing/2014/main" id="{0CBD420D-A3D7-EF7D-204C-BB591E355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999" y="1267007"/>
            <a:ext cx="11052281" cy="751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875308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4F354A7-5E91-BA75-2082-BF985BB250C4}"/>
              </a:ext>
            </a:extLst>
          </p:cNvPr>
          <p:cNvSpPr txBox="1">
            <a:spLocks/>
          </p:cNvSpPr>
          <p:nvPr/>
        </p:nvSpPr>
        <p:spPr>
          <a:xfrm>
            <a:off x="4813766" y="1897653"/>
            <a:ext cx="6566657" cy="921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b="1" dirty="0">
                <a:solidFill>
                  <a:schemeClr val="bg1"/>
                </a:solidFill>
                <a:latin typeface="Montserrat" pitchFamily="2" charset="77"/>
              </a:rPr>
              <a:t>ВИДЫ</a:t>
            </a: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8000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D7F4B5-5E30-317B-2007-A4DF8CF0F177}"/>
              </a:ext>
            </a:extLst>
          </p:cNvPr>
          <p:cNvCxnSpPr>
            <a:cxnSpLocks/>
          </p:cNvCxnSpPr>
          <p:nvPr/>
        </p:nvCxnSpPr>
        <p:spPr>
          <a:xfrm>
            <a:off x="8148264" y="3389450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CEA08-58A5-D9EF-474E-EDDBD348301E}"/>
              </a:ext>
            </a:extLst>
          </p:cNvPr>
          <p:cNvCxnSpPr>
            <a:cxnSpLocks/>
          </p:cNvCxnSpPr>
          <p:nvPr/>
        </p:nvCxnSpPr>
        <p:spPr>
          <a:xfrm flipH="1" flipV="1">
            <a:off x="1451699" y="4525294"/>
            <a:ext cx="13873606" cy="2923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F4DA43-0E89-345E-AB05-C28D58D4C5FC}"/>
              </a:ext>
            </a:extLst>
          </p:cNvPr>
          <p:cNvCxnSpPr>
            <a:cxnSpLocks/>
          </p:cNvCxnSpPr>
          <p:nvPr/>
        </p:nvCxnSpPr>
        <p:spPr>
          <a:xfrm>
            <a:off x="1451698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DE12995-7847-03B0-9965-C50B6B0BC257}"/>
              </a:ext>
            </a:extLst>
          </p:cNvPr>
          <p:cNvSpPr txBox="1">
            <a:spLocks/>
          </p:cNvSpPr>
          <p:nvPr/>
        </p:nvSpPr>
        <p:spPr>
          <a:xfrm>
            <a:off x="743321" y="5666452"/>
            <a:ext cx="2430624" cy="1918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агрегатные</a:t>
            </a:r>
          </a:p>
          <a:p>
            <a:pPr marL="0" indent="0">
              <a:buNone/>
            </a:pPr>
            <a:endParaRPr lang="ru-RU" sz="1706" dirty="0">
              <a:solidFill>
                <a:schemeClr val="bg1"/>
              </a:solidFill>
              <a:latin typeface="Montserrat Light" pitchFamily="2" charset="77"/>
            </a:endParaRPr>
          </a:p>
          <a:p>
            <a:pPr marL="0" indent="0">
              <a:buNone/>
            </a:pPr>
            <a:endParaRPr lang="en-RU" sz="2844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1CBC2D-D049-E905-A5B9-326070DC154A}"/>
              </a:ext>
            </a:extLst>
          </p:cNvPr>
          <p:cNvCxnSpPr>
            <a:cxnSpLocks/>
          </p:cNvCxnSpPr>
          <p:nvPr/>
        </p:nvCxnSpPr>
        <p:spPr>
          <a:xfrm>
            <a:off x="6228987" y="4530606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DE839463-DB73-CF5A-7BD3-E9DA3F595B1F}"/>
              </a:ext>
            </a:extLst>
          </p:cNvPr>
          <p:cNvSpPr txBox="1">
            <a:spLocks/>
          </p:cNvSpPr>
          <p:nvPr/>
        </p:nvSpPr>
        <p:spPr>
          <a:xfrm>
            <a:off x="5489436" y="5671389"/>
            <a:ext cx="2293662" cy="21829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ранжирующие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6B3-B489-F71B-04D6-C6F102FA9309}"/>
              </a:ext>
            </a:extLst>
          </p:cNvPr>
          <p:cNvCxnSpPr>
            <a:cxnSpLocks/>
          </p:cNvCxnSpPr>
          <p:nvPr/>
        </p:nvCxnSpPr>
        <p:spPr>
          <a:xfrm>
            <a:off x="10433765" y="4545793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B4141F4-8364-CFBE-0D89-00C2B91733CD}"/>
              </a:ext>
            </a:extLst>
          </p:cNvPr>
          <p:cNvSpPr txBox="1">
            <a:spLocks/>
          </p:cNvSpPr>
          <p:nvPr/>
        </p:nvSpPr>
        <p:spPr>
          <a:xfrm>
            <a:off x="9798535" y="5681637"/>
            <a:ext cx="2467785" cy="4049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смещения</a:t>
            </a:r>
          </a:p>
          <a:p>
            <a:pPr marL="0" indent="0">
              <a:buNone/>
            </a:pP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A9ED91-DE68-8D2E-B79D-83800039A623}"/>
              </a:ext>
            </a:extLst>
          </p:cNvPr>
          <p:cNvSpPr txBox="1">
            <a:spLocks/>
          </p:cNvSpPr>
          <p:nvPr/>
        </p:nvSpPr>
        <p:spPr>
          <a:xfrm>
            <a:off x="7325424" y="2777143"/>
            <a:ext cx="3248565" cy="678257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413" i="1" dirty="0" err="1">
                <a:solidFill>
                  <a:schemeClr val="bg1"/>
                </a:solidFill>
                <a:latin typeface="Montserrat Light" pitchFamily="2" charset="77"/>
              </a:rPr>
              <a:t>оконок</a:t>
            </a:r>
            <a:endParaRPr lang="en-RU" sz="3413" i="1" dirty="0">
              <a:solidFill>
                <a:schemeClr val="bg1"/>
              </a:solidFill>
              <a:latin typeface="Montserrat Light" pitchFamily="2" charset="77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F2B6D4-980D-BAA6-D169-AEC4C40EFF89}"/>
              </a:ext>
            </a:extLst>
          </p:cNvPr>
          <p:cNvCxnSpPr>
            <a:cxnSpLocks/>
          </p:cNvCxnSpPr>
          <p:nvPr/>
        </p:nvCxnSpPr>
        <p:spPr>
          <a:xfrm>
            <a:off x="15310503" y="4541338"/>
            <a:ext cx="0" cy="1135845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B0AA24-32B8-EE78-CC91-2005291E88F4}"/>
              </a:ext>
            </a:extLst>
          </p:cNvPr>
          <p:cNvSpPr txBox="1">
            <a:spLocks/>
          </p:cNvSpPr>
          <p:nvPr/>
        </p:nvSpPr>
        <p:spPr>
          <a:xfrm>
            <a:off x="14367218" y="5661140"/>
            <a:ext cx="2207018" cy="34125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706" dirty="0">
                <a:solidFill>
                  <a:schemeClr val="bg1"/>
                </a:solidFill>
                <a:latin typeface="Montserrat Light" pitchFamily="2" charset="77"/>
              </a:rPr>
              <a:t>аналитические</a:t>
            </a:r>
            <a:endParaRPr lang="en-RU" sz="1706" dirty="0">
              <a:solidFill>
                <a:schemeClr val="bg1"/>
              </a:solidFill>
              <a:latin typeface="Montserrat 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17537985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Мэдисон">
  <a:themeElements>
    <a:clrScheme name="Colors_ OZON_v3">
      <a:dk1>
        <a:srgbClr val="000000"/>
      </a:dk1>
      <a:lt1>
        <a:srgbClr val="FFFFFF"/>
      </a:lt1>
      <a:dk2>
        <a:srgbClr val="005BFF"/>
      </a:dk2>
      <a:lt2>
        <a:srgbClr val="00A2FF"/>
      </a:lt2>
      <a:accent1>
        <a:srgbClr val="06CA99"/>
      </a:accent1>
      <a:accent2>
        <a:srgbClr val="FAE111"/>
      </a:accent2>
      <a:accent3>
        <a:srgbClr val="F91155"/>
      </a:accent3>
      <a:accent4>
        <a:srgbClr val="754CED"/>
      </a:accent4>
      <a:accent5>
        <a:srgbClr val="FFA83B"/>
      </a:accent5>
      <a:accent6>
        <a:srgbClr val="0000B7"/>
      </a:accent6>
      <a:hlink>
        <a:srgbClr val="000000"/>
      </a:hlink>
      <a:folHlink>
        <a:srgbClr val="000000"/>
      </a:folHlink>
    </a:clrScheme>
    <a:fontScheme name="Мэдисон">
      <a:majorFont>
        <a:latin typeface="Arial" panose="020B06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Мэдисон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alpha val="88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/>
          <a:stretch/>
        </a:blipFill>
      </a:bgFillStyleLst>
    </a:fmtScheme>
  </a:themeElements>
  <a:objectDefaults>
    <a:spDef>
      <a:spPr>
        <a:solidFill>
          <a:schemeClr val="tx2"/>
        </a:solidFill>
        <a:ln w="19050">
          <a:solidFill>
            <a:schemeClr val="tx2"/>
          </a:solidFill>
        </a:ln>
      </a:spPr>
      <a:bodyPr rtlCol="0" anchor="ctr"/>
      <a:lstStyle>
        <a:defPPr algn="ctr">
          <a:defRPr sz="2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headEnd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108000" rIns="0" bIns="108000" rtlCol="0">
        <a:spAutoFit/>
      </a:bodyPr>
      <a:lstStyle>
        <a:defPPr>
          <a:defRPr sz="2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dison" id="{025CB5FB-2DD3-45EE-B6F0-CC461540EB19}" vid="{6AC10936-2DFC-4054-9ADF-B5E2C5F86190}"/>
    </a:ext>
  </a:extLst>
</a:theme>
</file>

<file path=ppt/theme/theme2.xml><?xml version="1.0" encoding="utf-8"?>
<a:theme xmlns:a="http://schemas.openxmlformats.org/drawingml/2006/main" name="Мэдисон">
  <a:themeElements>
    <a:clrScheme name="Мэдисон">
      <a:dk1>
        <a:srgbClr val="000000"/>
      </a:dk1>
      <a:lt1>
        <a:srgbClr val="005BFF"/>
      </a:lt1>
      <a:dk2>
        <a:srgbClr val="A7A7A7"/>
      </a:dk2>
      <a:lt2>
        <a:srgbClr val="535353"/>
      </a:lt2>
      <a:accent1>
        <a:srgbClr val="06CA99"/>
      </a:accent1>
      <a:accent2>
        <a:srgbClr val="FAE111"/>
      </a:accent2>
      <a:accent3>
        <a:srgbClr val="F91155"/>
      </a:accent3>
      <a:accent4>
        <a:srgbClr val="754CED"/>
      </a:accent4>
      <a:accent5>
        <a:srgbClr val="FFA83B"/>
      </a:accent5>
      <a:accent6>
        <a:srgbClr val="0000B7"/>
      </a:accent6>
      <a:hlink>
        <a:srgbClr val="0000FF"/>
      </a:hlink>
      <a:folHlink>
        <a:srgbClr val="FF00FF"/>
      </a:folHlink>
    </a:clrScheme>
    <a:fontScheme name="Мэдисон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Мэдисон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587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30027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587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130027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5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dison</Template>
  <TotalTime>24769</TotalTime>
  <Words>1969</Words>
  <Application>Microsoft Office PowerPoint</Application>
  <PresentationFormat>Произвольный</PresentationFormat>
  <Paragraphs>316</Paragraphs>
  <Slides>2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2" baseType="lpstr">
      <vt:lpstr>.Apple Color Emoji UI</vt:lpstr>
      <vt:lpstr>.AppleSystemUIFont</vt:lpstr>
      <vt:lpstr>Arial</vt:lpstr>
      <vt:lpstr>Calibri</vt:lpstr>
      <vt:lpstr>Courier New</vt:lpstr>
      <vt:lpstr>Helvetica</vt:lpstr>
      <vt:lpstr>Menlo</vt:lpstr>
      <vt:lpstr>Montserrat</vt:lpstr>
      <vt:lpstr>Montserrat ExtraBold</vt:lpstr>
      <vt:lpstr>Montserrat Light</vt:lpstr>
      <vt:lpstr>Montserrat Medium</vt:lpstr>
      <vt:lpstr>Мэдисон</vt:lpstr>
      <vt:lpstr>Мэдисон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Саныч</cp:lastModifiedBy>
  <cp:revision>526</cp:revision>
  <dcterms:created xsi:type="dcterms:W3CDTF">2018-08-29T11:25:32Z</dcterms:created>
  <dcterms:modified xsi:type="dcterms:W3CDTF">2023-10-13T12:35:07Z</dcterms:modified>
</cp:coreProperties>
</file>